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0" r:id="rId2"/>
  </p:sldMasterIdLst>
  <p:sldIdLst>
    <p:sldId id="305" r:id="rId3"/>
    <p:sldId id="265" r:id="rId4"/>
    <p:sldId id="267" r:id="rId5"/>
    <p:sldId id="266" r:id="rId6"/>
    <p:sldId id="268" r:id="rId7"/>
    <p:sldId id="269" r:id="rId8"/>
    <p:sldId id="270" r:id="rId9"/>
    <p:sldId id="271" r:id="rId10"/>
    <p:sldId id="272" r:id="rId11"/>
    <p:sldId id="273" r:id="rId12"/>
    <p:sldId id="274" r:id="rId13"/>
    <p:sldId id="275" r:id="rId14"/>
    <p:sldId id="313" r:id="rId15"/>
    <p:sldId id="276" r:id="rId16"/>
    <p:sldId id="277" r:id="rId17"/>
    <p:sldId id="257" r:id="rId18"/>
    <p:sldId id="259" r:id="rId19"/>
    <p:sldId id="260" r:id="rId20"/>
    <p:sldId id="308" r:id="rId21"/>
    <p:sldId id="261" r:id="rId22"/>
    <p:sldId id="262" r:id="rId23"/>
    <p:sldId id="309" r:id="rId24"/>
    <p:sldId id="310" r:id="rId25"/>
    <p:sldId id="311" r:id="rId26"/>
    <p:sldId id="312" r:id="rId27"/>
    <p:sldId id="258" r:id="rId28"/>
    <p:sldId id="263" r:id="rId29"/>
    <p:sldId id="279" r:id="rId30"/>
    <p:sldId id="280" r:id="rId31"/>
    <p:sldId id="264" r:id="rId32"/>
    <p:sldId id="278" r:id="rId33"/>
    <p:sldId id="281" r:id="rId34"/>
    <p:sldId id="282" r:id="rId35"/>
    <p:sldId id="283" r:id="rId36"/>
    <p:sldId id="284" r:id="rId37"/>
    <p:sldId id="285" r:id="rId38"/>
    <p:sldId id="286" r:id="rId39"/>
    <p:sldId id="306" r:id="rId40"/>
    <p:sldId id="288" r:id="rId41"/>
    <p:sldId id="289" r:id="rId42"/>
    <p:sldId id="290" r:id="rId43"/>
    <p:sldId id="291" r:id="rId44"/>
    <p:sldId id="307" r:id="rId45"/>
    <p:sldId id="304" r:id="rId46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400C2A-FA18-41C8-9569-F9F1DF87B4FB}" v="389" dt="2023-05-16T07:33:54.7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4" d="100"/>
          <a:sy n="84" d="100"/>
        </p:scale>
        <p:origin x="581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microsoft.com/office/2016/11/relationships/changesInfo" Target="changesInfos/changesInfo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5B400C2A-FA18-41C8-9569-F9F1DF87B4FB}"/>
    <pc:docChg chg="undo custSel addSld delSld modSld sldOrd modMainMaster">
      <pc:chgData name="Koen Verbeeck" userId="24d0e79a7fd977da" providerId="LiveId" clId="{5B400C2A-FA18-41C8-9569-F9F1DF87B4FB}" dt="2023-05-16T07:33:54.785" v="3130" actId="1076"/>
      <pc:docMkLst>
        <pc:docMk/>
      </pc:docMkLst>
      <pc:sldChg chg="addSp delSp modSp del mod">
        <pc:chgData name="Koen Verbeeck" userId="24d0e79a7fd977da" providerId="LiveId" clId="{5B400C2A-FA18-41C8-9569-F9F1DF87B4FB}" dt="2023-04-23T14:53:48.572" v="2439" actId="47"/>
        <pc:sldMkLst>
          <pc:docMk/>
          <pc:sldMk cId="1645553223" sldId="256"/>
        </pc:sldMkLst>
        <pc:spChg chg="mod">
          <ac:chgData name="Koen Verbeeck" userId="24d0e79a7fd977da" providerId="LiveId" clId="{5B400C2A-FA18-41C8-9569-F9F1DF87B4FB}" dt="2023-04-01T12:03:25.094" v="3" actId="27636"/>
          <ac:spMkLst>
            <pc:docMk/>
            <pc:sldMk cId="1645553223" sldId="256"/>
            <ac:spMk id="4" creationId="{F13BEC67-6CE8-FBCD-86EA-C637177337F9}"/>
          </ac:spMkLst>
        </pc:spChg>
        <pc:spChg chg="mod">
          <ac:chgData name="Koen Verbeeck" userId="24d0e79a7fd977da" providerId="LiveId" clId="{5B400C2A-FA18-41C8-9569-F9F1DF87B4FB}" dt="2023-04-01T12:03:30.949" v="14" actId="20577"/>
          <ac:spMkLst>
            <pc:docMk/>
            <pc:sldMk cId="1645553223" sldId="256"/>
            <ac:spMk id="5" creationId="{DDE4A71D-713D-37F4-50C9-E0B3E777B5B8}"/>
          </ac:spMkLst>
        </pc:spChg>
        <pc:picChg chg="add del mod">
          <ac:chgData name="Koen Verbeeck" userId="24d0e79a7fd977da" providerId="LiveId" clId="{5B400C2A-FA18-41C8-9569-F9F1DF87B4FB}" dt="2023-04-05T11:06:28.216" v="692" actId="478"/>
          <ac:picMkLst>
            <pc:docMk/>
            <pc:sldMk cId="1645553223" sldId="256"/>
            <ac:picMk id="3" creationId="{0F3FA07F-AA09-755F-A31E-1FB8AEAB3B41}"/>
          </ac:picMkLst>
        </pc:picChg>
        <pc:picChg chg="add del mod">
          <ac:chgData name="Koen Verbeeck" userId="24d0e79a7fd977da" providerId="LiveId" clId="{5B400C2A-FA18-41C8-9569-F9F1DF87B4FB}" dt="2023-04-06T13:25:51.117" v="696" actId="478"/>
          <ac:picMkLst>
            <pc:docMk/>
            <pc:sldMk cId="1645553223" sldId="256"/>
            <ac:picMk id="7" creationId="{E4E093B9-5D40-B1F1-8150-22F670800F3A}"/>
          </ac:picMkLst>
        </pc:picChg>
        <pc:picChg chg="add del mod">
          <ac:chgData name="Koen Verbeeck" userId="24d0e79a7fd977da" providerId="LiveId" clId="{5B400C2A-FA18-41C8-9569-F9F1DF87B4FB}" dt="2023-04-06T13:26:49.681" v="700" actId="478"/>
          <ac:picMkLst>
            <pc:docMk/>
            <pc:sldMk cId="1645553223" sldId="256"/>
            <ac:picMk id="9" creationId="{E3CD084F-F9F5-2BC2-26FB-4A9BFBC12E3D}"/>
          </ac:picMkLst>
        </pc:picChg>
        <pc:picChg chg="add del mod">
          <ac:chgData name="Koen Verbeeck" userId="24d0e79a7fd977da" providerId="LiveId" clId="{5B400C2A-FA18-41C8-9569-F9F1DF87B4FB}" dt="2023-04-06T13:27:40.861" v="704" actId="478"/>
          <ac:picMkLst>
            <pc:docMk/>
            <pc:sldMk cId="1645553223" sldId="256"/>
            <ac:picMk id="11" creationId="{9445DAEE-1FB7-4092-B67A-10466BA40D8C}"/>
          </ac:picMkLst>
        </pc:picChg>
        <pc:picChg chg="add del mod">
          <ac:chgData name="Koen Verbeeck" userId="24d0e79a7fd977da" providerId="LiveId" clId="{5B400C2A-FA18-41C8-9569-F9F1DF87B4FB}" dt="2023-04-06T13:29:03.106" v="708" actId="478"/>
          <ac:picMkLst>
            <pc:docMk/>
            <pc:sldMk cId="1645553223" sldId="256"/>
            <ac:picMk id="13" creationId="{F5C526E7-7E8E-6F0D-207A-E4348D139DBC}"/>
          </ac:picMkLst>
        </pc:picChg>
        <pc:picChg chg="add del mod">
          <ac:chgData name="Koen Verbeeck" userId="24d0e79a7fd977da" providerId="LiveId" clId="{5B400C2A-FA18-41C8-9569-F9F1DF87B4FB}" dt="2023-04-06T13:31:03.330" v="713" actId="21"/>
          <ac:picMkLst>
            <pc:docMk/>
            <pc:sldMk cId="1645553223" sldId="256"/>
            <ac:picMk id="15" creationId="{E254518C-2747-A770-1EB9-43C3A4CA5577}"/>
          </ac:picMkLst>
        </pc:picChg>
      </pc:sldChg>
      <pc:sldChg chg="modSp mod modTransition">
        <pc:chgData name="Koen Verbeeck" userId="24d0e79a7fd977da" providerId="LiveId" clId="{5B400C2A-FA18-41C8-9569-F9F1DF87B4FB}" dt="2023-04-23T14:59:39.361" v="2483" actId="1076"/>
        <pc:sldMkLst>
          <pc:docMk/>
          <pc:sldMk cId="3180347559" sldId="257"/>
        </pc:sldMkLst>
        <pc:spChg chg="mod">
          <ac:chgData name="Koen Verbeeck" userId="24d0e79a7fd977da" providerId="LiveId" clId="{5B400C2A-FA18-41C8-9569-F9F1DF87B4FB}" dt="2023-04-23T14:02:31.783" v="1405" actId="20577"/>
          <ac:spMkLst>
            <pc:docMk/>
            <pc:sldMk cId="3180347559" sldId="257"/>
            <ac:spMk id="4" creationId="{E26FA157-D1AA-6472-48AC-65754CF98548}"/>
          </ac:spMkLst>
        </pc:spChg>
        <pc:spChg chg="mod">
          <ac:chgData name="Koen Verbeeck" userId="24d0e79a7fd977da" providerId="LiveId" clId="{5B400C2A-FA18-41C8-9569-F9F1DF87B4FB}" dt="2023-04-23T14:59:39.361" v="2483" actId="1076"/>
          <ac:spMkLst>
            <pc:docMk/>
            <pc:sldMk cId="3180347559" sldId="257"/>
            <ac:spMk id="8" creationId="{EDDF6E42-A93F-A823-4616-FCF2F4AFD030}"/>
          </ac:spMkLst>
        </pc:spChg>
      </pc:sldChg>
      <pc:sldChg chg="modSp mod ord modTransition">
        <pc:chgData name="Koen Verbeeck" userId="24d0e79a7fd977da" providerId="LiveId" clId="{5B400C2A-FA18-41C8-9569-F9F1DF87B4FB}" dt="2023-04-25T11:26:35.164" v="2743"/>
        <pc:sldMkLst>
          <pc:docMk/>
          <pc:sldMk cId="663712690" sldId="258"/>
        </pc:sldMkLst>
        <pc:spChg chg="mod">
          <ac:chgData name="Koen Verbeeck" userId="24d0e79a7fd977da" providerId="LiveId" clId="{5B400C2A-FA18-41C8-9569-F9F1DF87B4FB}" dt="2023-04-23T14:02:38.290" v="1409" actId="20577"/>
          <ac:spMkLst>
            <pc:docMk/>
            <pc:sldMk cId="663712690" sldId="258"/>
            <ac:spMk id="2" creationId="{3AE8B9EA-9BBA-BC02-D9E4-C0E244A3240F}"/>
          </ac:spMkLst>
        </pc:spChg>
      </pc:sldChg>
      <pc:sldChg chg="modSp mod modTransition">
        <pc:chgData name="Koen Verbeeck" userId="24d0e79a7fd977da" providerId="LiveId" clId="{5B400C2A-FA18-41C8-9569-F9F1DF87B4FB}" dt="2023-04-23T14:59:23.171" v="2482"/>
        <pc:sldMkLst>
          <pc:docMk/>
          <pc:sldMk cId="323885092" sldId="259"/>
        </pc:sldMkLst>
        <pc:spChg chg="mod">
          <ac:chgData name="Koen Verbeeck" userId="24d0e79a7fd977da" providerId="LiveId" clId="{5B400C2A-FA18-41C8-9569-F9F1DF87B4FB}" dt="2023-04-23T14:02:44.489" v="1415" actId="20577"/>
          <ac:spMkLst>
            <pc:docMk/>
            <pc:sldMk cId="323885092" sldId="259"/>
            <ac:spMk id="2" creationId="{9F99F281-597E-B047-BD4D-2AFE32AA0129}"/>
          </ac:spMkLst>
        </pc:spChg>
      </pc:sldChg>
      <pc:sldChg chg="modSp mod modTransition">
        <pc:chgData name="Koen Verbeeck" userId="24d0e79a7fd977da" providerId="LiveId" clId="{5B400C2A-FA18-41C8-9569-F9F1DF87B4FB}" dt="2023-04-23T14:59:23.171" v="2482"/>
        <pc:sldMkLst>
          <pc:docMk/>
          <pc:sldMk cId="1090526494" sldId="260"/>
        </pc:sldMkLst>
        <pc:spChg chg="mod">
          <ac:chgData name="Koen Verbeeck" userId="24d0e79a7fd977da" providerId="LiveId" clId="{5B400C2A-FA18-41C8-9569-F9F1DF87B4FB}" dt="2023-04-23T14:02:51.403" v="1420" actId="20577"/>
          <ac:spMkLst>
            <pc:docMk/>
            <pc:sldMk cId="1090526494" sldId="260"/>
            <ac:spMk id="2" creationId="{5C338A42-A3FD-56B1-9F35-00F3851D635B}"/>
          </ac:spMkLst>
        </pc:spChg>
      </pc:sldChg>
      <pc:sldChg chg="addSp modSp mod modTransition">
        <pc:chgData name="Koen Verbeeck" userId="24d0e79a7fd977da" providerId="LiveId" clId="{5B400C2A-FA18-41C8-9569-F9F1DF87B4FB}" dt="2023-04-23T14:59:23.171" v="2482"/>
        <pc:sldMkLst>
          <pc:docMk/>
          <pc:sldMk cId="4117954624" sldId="261"/>
        </pc:sldMkLst>
        <pc:spChg chg="mod">
          <ac:chgData name="Koen Verbeeck" userId="24d0e79a7fd977da" providerId="LiveId" clId="{5B400C2A-FA18-41C8-9569-F9F1DF87B4FB}" dt="2023-04-23T14:02:57.323" v="1426" actId="20577"/>
          <ac:spMkLst>
            <pc:docMk/>
            <pc:sldMk cId="4117954624" sldId="261"/>
            <ac:spMk id="2" creationId="{5AFEB959-250B-1D54-C1B6-BEF39CC4EB88}"/>
          </ac:spMkLst>
        </pc:spChg>
        <pc:picChg chg="add mod">
          <ac:chgData name="Koen Verbeeck" userId="24d0e79a7fd977da" providerId="LiveId" clId="{5B400C2A-FA18-41C8-9569-F9F1DF87B4FB}" dt="2023-04-23T14:54:23.070" v="2443" actId="1076"/>
          <ac:picMkLst>
            <pc:docMk/>
            <pc:sldMk cId="4117954624" sldId="261"/>
            <ac:picMk id="3" creationId="{E40A6501-885F-53A5-02A6-70ACB3D54F5C}"/>
          </ac:picMkLst>
        </pc:picChg>
      </pc:sldChg>
      <pc:sldChg chg="addSp modSp mod modTransition">
        <pc:chgData name="Koen Verbeeck" userId="24d0e79a7fd977da" providerId="LiveId" clId="{5B400C2A-FA18-41C8-9569-F9F1DF87B4FB}" dt="2023-04-23T14:59:23.171" v="2482"/>
        <pc:sldMkLst>
          <pc:docMk/>
          <pc:sldMk cId="3173215253" sldId="262"/>
        </pc:sldMkLst>
        <pc:spChg chg="mod">
          <ac:chgData name="Koen Verbeeck" userId="24d0e79a7fd977da" providerId="LiveId" clId="{5B400C2A-FA18-41C8-9569-F9F1DF87B4FB}" dt="2023-04-23T14:03:00.803" v="1428" actId="20577"/>
          <ac:spMkLst>
            <pc:docMk/>
            <pc:sldMk cId="3173215253" sldId="262"/>
            <ac:spMk id="2" creationId="{B8AA16AF-FD8D-7BF1-F3A1-140685EE6909}"/>
          </ac:spMkLst>
        </pc:spChg>
        <pc:picChg chg="add mod">
          <ac:chgData name="Koen Verbeeck" userId="24d0e79a7fd977da" providerId="LiveId" clId="{5B400C2A-FA18-41C8-9569-F9F1DF87B4FB}" dt="2023-04-23T14:54:33.457" v="2446" actId="1076"/>
          <ac:picMkLst>
            <pc:docMk/>
            <pc:sldMk cId="3173215253" sldId="262"/>
            <ac:picMk id="3" creationId="{FAE6E0D1-904C-ACF7-78CE-C1B7870065FC}"/>
          </ac:picMkLst>
        </pc:picChg>
      </pc:sldChg>
      <pc:sldChg chg="addSp modSp mod modTransition">
        <pc:chgData name="Koen Verbeeck" userId="24d0e79a7fd977da" providerId="LiveId" clId="{5B400C2A-FA18-41C8-9569-F9F1DF87B4FB}" dt="2023-04-23T14:59:23.171" v="2482"/>
        <pc:sldMkLst>
          <pc:docMk/>
          <pc:sldMk cId="2765644798" sldId="263"/>
        </pc:sldMkLst>
        <pc:spChg chg="mod">
          <ac:chgData name="Koen Verbeeck" userId="24d0e79a7fd977da" providerId="LiveId" clId="{5B400C2A-FA18-41C8-9569-F9F1DF87B4FB}" dt="2023-04-23T14:55:04.487" v="2451" actId="1076"/>
          <ac:spMkLst>
            <pc:docMk/>
            <pc:sldMk cId="2765644798" sldId="263"/>
            <ac:spMk id="4" creationId="{E0AFDA15-5602-15BD-1925-9ED49C219DC0}"/>
          </ac:spMkLst>
        </pc:spChg>
        <pc:picChg chg="add mod">
          <ac:chgData name="Koen Verbeeck" userId="24d0e79a7fd977da" providerId="LiveId" clId="{5B400C2A-FA18-41C8-9569-F9F1DF87B4FB}" dt="2023-04-23T14:54:49.911" v="2448" actId="1076"/>
          <ac:picMkLst>
            <pc:docMk/>
            <pc:sldMk cId="2765644798" sldId="263"/>
            <ac:picMk id="2" creationId="{2B74547B-B533-5E5B-5554-0666DD8931EB}"/>
          </ac:picMkLst>
        </pc:picChg>
      </pc:sldChg>
      <pc:sldChg chg="modSp mod modTransition modAnim">
        <pc:chgData name="Koen Verbeeck" userId="24d0e79a7fd977da" providerId="LiveId" clId="{5B400C2A-FA18-41C8-9569-F9F1DF87B4FB}" dt="2023-04-23T15:00:51.032" v="2488"/>
        <pc:sldMkLst>
          <pc:docMk/>
          <pc:sldMk cId="2693347768" sldId="264"/>
        </pc:sldMkLst>
        <pc:spChg chg="mod">
          <ac:chgData name="Koen Verbeeck" userId="24d0e79a7fd977da" providerId="LiveId" clId="{5B400C2A-FA18-41C8-9569-F9F1DF87B4FB}" dt="2023-04-21T19:00:11.390" v="843" actId="20577"/>
          <ac:spMkLst>
            <pc:docMk/>
            <pc:sldMk cId="2693347768" sldId="264"/>
            <ac:spMk id="3" creationId="{ABE6F6AB-6125-5FAB-F639-AE8ECB1E470E}"/>
          </ac:spMkLst>
        </pc:spChg>
      </pc:sldChg>
      <pc:sldChg chg="addSp delSp modSp add mod modTransition">
        <pc:chgData name="Koen Verbeeck" userId="24d0e79a7fd977da" providerId="LiveId" clId="{5B400C2A-FA18-41C8-9569-F9F1DF87B4FB}" dt="2023-04-24T06:42:06.274" v="2729" actId="1076"/>
        <pc:sldMkLst>
          <pc:docMk/>
          <pc:sldMk cId="2619988835" sldId="265"/>
        </pc:sldMkLst>
        <pc:spChg chg="add mod">
          <ac:chgData name="Koen Verbeeck" userId="24d0e79a7fd977da" providerId="LiveId" clId="{5B400C2A-FA18-41C8-9569-F9F1DF87B4FB}" dt="2023-04-24T06:42:01.571" v="2728" actId="465"/>
          <ac:spMkLst>
            <pc:docMk/>
            <pc:sldMk cId="2619988835" sldId="265"/>
            <ac:spMk id="2" creationId="{6C335CD5-3FD7-F97A-67F8-48E48E5D262D}"/>
          </ac:spMkLst>
        </pc:spChg>
        <pc:spChg chg="mod">
          <ac:chgData name="Koen Verbeeck" userId="24d0e79a7fd977da" providerId="LiveId" clId="{5B400C2A-FA18-41C8-9569-F9F1DF87B4FB}" dt="2023-04-24T06:39:27.963" v="2658" actId="1035"/>
          <ac:spMkLst>
            <pc:docMk/>
            <pc:sldMk cId="2619988835" sldId="265"/>
            <ac:spMk id="20" creationId="{4A89FB90-D1F7-49D7-932B-7A915FE0122D}"/>
          </ac:spMkLst>
        </pc:spChg>
        <pc:spChg chg="mod">
          <ac:chgData name="Koen Verbeeck" userId="24d0e79a7fd977da" providerId="LiveId" clId="{5B400C2A-FA18-41C8-9569-F9F1DF87B4FB}" dt="2023-04-24T06:41:42.165" v="2721" actId="465"/>
          <ac:spMkLst>
            <pc:docMk/>
            <pc:sldMk cId="2619988835" sldId="265"/>
            <ac:spMk id="24" creationId="{BFF25780-A8C4-4535-819C-7DA44AC5906F}"/>
          </ac:spMkLst>
        </pc:spChg>
        <pc:spChg chg="mod">
          <ac:chgData name="Koen Verbeeck" userId="24d0e79a7fd977da" providerId="LiveId" clId="{5B400C2A-FA18-41C8-9569-F9F1DF87B4FB}" dt="2023-04-24T06:42:01.571" v="2728" actId="465"/>
          <ac:spMkLst>
            <pc:docMk/>
            <pc:sldMk cId="2619988835" sldId="265"/>
            <ac:spMk id="26" creationId="{32E475E7-96DF-4E92-BDAA-A0A65DA568CE}"/>
          </ac:spMkLst>
        </pc:spChg>
        <pc:spChg chg="mod">
          <ac:chgData name="Koen Verbeeck" userId="24d0e79a7fd977da" providerId="LiveId" clId="{5B400C2A-FA18-41C8-9569-F9F1DF87B4FB}" dt="2023-04-24T06:39:43.011" v="2702" actId="1036"/>
          <ac:spMkLst>
            <pc:docMk/>
            <pc:sldMk cId="2619988835" sldId="265"/>
            <ac:spMk id="30" creationId="{D1C574BF-8FBF-4BF2-976A-76C4D9FB4ED1}"/>
          </ac:spMkLst>
        </pc:spChg>
        <pc:picChg chg="add del mod">
          <ac:chgData name="Koen Verbeeck" userId="24d0e79a7fd977da" providerId="LiveId" clId="{5B400C2A-FA18-41C8-9569-F9F1DF87B4FB}" dt="2023-04-06T13:31:31.881" v="717" actId="478"/>
          <ac:picMkLst>
            <pc:docMk/>
            <pc:sldMk cId="2619988835" sldId="265"/>
            <ac:picMk id="2" creationId="{B230441C-8F88-895D-BBB6-13C73E220C41}"/>
          </ac:picMkLst>
        </pc:picChg>
        <pc:picChg chg="add mod">
          <ac:chgData name="Koen Verbeeck" userId="24d0e79a7fd977da" providerId="LiveId" clId="{5B400C2A-FA18-41C8-9569-F9F1DF87B4FB}" dt="2023-04-24T06:39:54.950" v="2705" actId="1076"/>
          <ac:picMkLst>
            <pc:docMk/>
            <pc:sldMk cId="2619988835" sldId="265"/>
            <ac:picMk id="3" creationId="{D2C93DC1-82B1-57AC-8ADE-65CBBC98F131}"/>
          </ac:picMkLst>
        </pc:picChg>
        <pc:picChg chg="add mod">
          <ac:chgData name="Koen Verbeeck" userId="24d0e79a7fd977da" providerId="LiveId" clId="{5B400C2A-FA18-41C8-9569-F9F1DF87B4FB}" dt="2023-04-24T06:41:51.228" v="2727" actId="1035"/>
          <ac:picMkLst>
            <pc:docMk/>
            <pc:sldMk cId="2619988835" sldId="265"/>
            <ac:picMk id="5" creationId="{C517FCBF-BD3E-25F5-3436-70330B070293}"/>
          </ac:picMkLst>
        </pc:picChg>
        <pc:picChg chg="add del">
          <ac:chgData name="Koen Verbeeck" userId="24d0e79a7fd977da" providerId="LiveId" clId="{5B400C2A-FA18-41C8-9569-F9F1DF87B4FB}" dt="2023-04-06T18:06:27.882" v="719" actId="478"/>
          <ac:picMkLst>
            <pc:docMk/>
            <pc:sldMk cId="2619988835" sldId="265"/>
            <ac:picMk id="5" creationId="{DE4AC761-286F-FF36-DAB1-335EBE535576}"/>
          </ac:picMkLst>
        </pc:picChg>
        <pc:picChg chg="del">
          <ac:chgData name="Koen Verbeeck" userId="24d0e79a7fd977da" providerId="LiveId" clId="{5B400C2A-FA18-41C8-9569-F9F1DF87B4FB}" dt="2023-04-14T16:52:03.486" v="720" actId="478"/>
          <ac:picMkLst>
            <pc:docMk/>
            <pc:sldMk cId="2619988835" sldId="265"/>
            <ac:picMk id="1026" creationId="{5EC29D78-2384-45FC-B6AF-C98114F50823}"/>
          </ac:picMkLst>
        </pc:picChg>
        <pc:picChg chg="mod">
          <ac:chgData name="Koen Verbeeck" userId="24d0e79a7fd977da" providerId="LiveId" clId="{5B400C2A-FA18-41C8-9569-F9F1DF87B4FB}" dt="2023-04-24T06:41:42.165" v="2721" actId="465"/>
          <ac:picMkLst>
            <pc:docMk/>
            <pc:sldMk cId="2619988835" sldId="265"/>
            <ac:picMk id="1030" creationId="{ABD504F5-71D8-476F-9098-E5AC76643515}"/>
          </ac:picMkLst>
        </pc:picChg>
        <pc:picChg chg="mod">
          <ac:chgData name="Koen Verbeeck" userId="24d0e79a7fd977da" providerId="LiveId" clId="{5B400C2A-FA18-41C8-9569-F9F1DF87B4FB}" dt="2023-04-24T06:41:47.948" v="2722" actId="465"/>
          <ac:picMkLst>
            <pc:docMk/>
            <pc:sldMk cId="2619988835" sldId="265"/>
            <ac:picMk id="1032" creationId="{1A0F28DB-B120-4149-A9BF-B5891541B45A}"/>
          </ac:picMkLst>
        </pc:picChg>
        <pc:picChg chg="add mod">
          <ac:chgData name="Koen Verbeeck" userId="24d0e79a7fd977da" providerId="LiveId" clId="{5B400C2A-FA18-41C8-9569-F9F1DF87B4FB}" dt="2023-04-24T06:42:06.274" v="2729" actId="1076"/>
          <ac:picMkLst>
            <pc:docMk/>
            <pc:sldMk cId="2619988835" sldId="265"/>
            <ac:picMk id="2050" creationId="{B0646054-5A70-256C-770B-35414A52DE42}"/>
          </ac:picMkLst>
        </pc:picChg>
      </pc:sldChg>
      <pc:sldChg chg="addSp modSp new mod modTransition modClrScheme chgLayout">
        <pc:chgData name="Koen Verbeeck" userId="24d0e79a7fd977da" providerId="LiveId" clId="{5B400C2A-FA18-41C8-9569-F9F1DF87B4FB}" dt="2023-04-23T14:59:23.171" v="2482"/>
        <pc:sldMkLst>
          <pc:docMk/>
          <pc:sldMk cId="3779449701" sldId="266"/>
        </pc:sldMkLst>
        <pc:spChg chg="mod ord">
          <ac:chgData name="Koen Verbeeck" userId="24d0e79a7fd977da" providerId="LiveId" clId="{5B400C2A-FA18-41C8-9569-F9F1DF87B4FB}" dt="2023-04-01T12:04:53.347" v="57" actId="700"/>
          <ac:spMkLst>
            <pc:docMk/>
            <pc:sldMk cId="3779449701" sldId="266"/>
            <ac:spMk id="2" creationId="{040B1167-871C-5E8A-2EA4-953753E50E41}"/>
          </ac:spMkLst>
        </pc:spChg>
        <pc:spChg chg="add mod ord">
          <ac:chgData name="Koen Verbeeck" userId="24d0e79a7fd977da" providerId="LiveId" clId="{5B400C2A-FA18-41C8-9569-F9F1DF87B4FB}" dt="2023-04-23T14:58:04.138" v="2476" actId="20577"/>
          <ac:spMkLst>
            <pc:docMk/>
            <pc:sldMk cId="3779449701" sldId="266"/>
            <ac:spMk id="3" creationId="{CB939355-00AD-61D2-FF68-9A0780804D01}"/>
          </ac:spMkLst>
        </pc:spChg>
        <pc:picChg chg="add mod">
          <ac:chgData name="Koen Verbeeck" userId="24d0e79a7fd977da" providerId="LiveId" clId="{5B400C2A-FA18-41C8-9569-F9F1DF87B4FB}" dt="2023-04-23T14:54:08.216" v="2441" actId="1076"/>
          <ac:picMkLst>
            <pc:docMk/>
            <pc:sldMk cId="3779449701" sldId="266"/>
            <ac:picMk id="4" creationId="{FC9424EC-22A4-4DB8-7CA0-78C6D90D0388}"/>
          </ac:picMkLst>
        </pc:picChg>
      </pc:sldChg>
      <pc:sldChg chg="addSp del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3631951163" sldId="267"/>
        </pc:sldMkLst>
        <pc:spChg chg="mod">
          <ac:chgData name="Koen Verbeeck" userId="24d0e79a7fd977da" providerId="LiveId" clId="{5B400C2A-FA18-41C8-9569-F9F1DF87B4FB}" dt="2023-04-01T12:05:24.176" v="81" actId="20577"/>
          <ac:spMkLst>
            <pc:docMk/>
            <pc:sldMk cId="3631951163" sldId="267"/>
            <ac:spMk id="2" creationId="{08A5D721-C059-5BC2-09E3-906DBD777ECF}"/>
          </ac:spMkLst>
        </pc:spChg>
        <pc:spChg chg="add mod">
          <ac:chgData name="Koen Verbeeck" userId="24d0e79a7fd977da" providerId="LiveId" clId="{5B400C2A-FA18-41C8-9569-F9F1DF87B4FB}" dt="2023-04-01T12:33:43.909" v="251" actId="1076"/>
          <ac:spMkLst>
            <pc:docMk/>
            <pc:sldMk cId="3631951163" sldId="267"/>
            <ac:spMk id="7" creationId="{FD81E438-D1FF-9C46-4B44-F28DA18EAA03}"/>
          </ac:spMkLst>
        </pc:spChg>
        <pc:spChg chg="add mod">
          <ac:chgData name="Koen Verbeeck" userId="24d0e79a7fd977da" providerId="LiveId" clId="{5B400C2A-FA18-41C8-9569-F9F1DF87B4FB}" dt="2023-04-01T12:33:43.909" v="251" actId="1076"/>
          <ac:spMkLst>
            <pc:docMk/>
            <pc:sldMk cId="3631951163" sldId="267"/>
            <ac:spMk id="8" creationId="{FBA09CBD-F3EA-8861-751D-E6E2286DB576}"/>
          </ac:spMkLst>
        </pc:spChg>
        <pc:spChg chg="add mod">
          <ac:chgData name="Koen Verbeeck" userId="24d0e79a7fd977da" providerId="LiveId" clId="{5B400C2A-FA18-41C8-9569-F9F1DF87B4FB}" dt="2023-04-01T12:33:43.909" v="251" actId="1076"/>
          <ac:spMkLst>
            <pc:docMk/>
            <pc:sldMk cId="3631951163" sldId="267"/>
            <ac:spMk id="9" creationId="{FDA43110-F8BF-9244-1EFC-D63540EE0FC1}"/>
          </ac:spMkLst>
        </pc:spChg>
        <pc:spChg chg="add mod">
          <ac:chgData name="Koen Verbeeck" userId="24d0e79a7fd977da" providerId="LiveId" clId="{5B400C2A-FA18-41C8-9569-F9F1DF87B4FB}" dt="2023-04-01T12:33:18.529" v="249" actId="1076"/>
          <ac:spMkLst>
            <pc:docMk/>
            <pc:sldMk cId="3631951163" sldId="267"/>
            <ac:spMk id="32" creationId="{2B107867-74E5-F839-26FF-3E6F276A2F40}"/>
          </ac:spMkLst>
        </pc:spChg>
        <pc:picChg chg="add mod">
          <ac:chgData name="Koen Verbeeck" userId="24d0e79a7fd977da" providerId="LiveId" clId="{5B400C2A-FA18-41C8-9569-F9F1DF87B4FB}" dt="2023-04-01T12:33:34.218" v="250" actId="1076"/>
          <ac:picMkLst>
            <pc:docMk/>
            <pc:sldMk cId="3631951163" sldId="267"/>
            <ac:picMk id="4" creationId="{AB053FE2-AD4D-C0F4-C6C9-42C14649B9C6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5" creationId="{85A3D76E-3D7D-194B-66C6-6B0707B54787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6" creationId="{E7C305B7-9C2B-70A4-70FD-CF36611D1296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0" creationId="{8EA490C1-C2A3-7458-1101-E6898B6D5971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1" creationId="{0645F610-FE3C-E3F7-DB18-4360E1B41CBD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2" creationId="{170EEFF4-F030-3D35-F075-B7FF6C302009}"/>
          </ac:picMkLst>
        </pc:picChg>
        <pc:picChg chg="add del mod">
          <ac:chgData name="Koen Verbeeck" userId="24d0e79a7fd977da" providerId="LiveId" clId="{5B400C2A-FA18-41C8-9569-F9F1DF87B4FB}" dt="2023-04-01T12:26:54.025" v="151" actId="478"/>
          <ac:picMkLst>
            <pc:docMk/>
            <pc:sldMk cId="3631951163" sldId="267"/>
            <ac:picMk id="25" creationId="{0A9CED73-29A3-A1BA-0C2B-D8BA9649389F}"/>
          </ac:picMkLst>
        </pc:picChg>
        <pc:picChg chg="add del mod">
          <ac:chgData name="Koen Verbeeck" userId="24d0e79a7fd977da" providerId="LiveId" clId="{5B400C2A-FA18-41C8-9569-F9F1DF87B4FB}" dt="2023-04-01T12:30:03.829" v="158" actId="478"/>
          <ac:picMkLst>
            <pc:docMk/>
            <pc:sldMk cId="3631951163" sldId="267"/>
            <ac:picMk id="27" creationId="{55CE179E-A72B-6755-7024-5531D87A0F2F}"/>
          </ac:picMkLst>
        </pc:picChg>
        <pc:picChg chg="add mod">
          <ac:chgData name="Koen Verbeeck" userId="24d0e79a7fd977da" providerId="LiveId" clId="{5B400C2A-FA18-41C8-9569-F9F1DF87B4FB}" dt="2023-04-01T12:32:09.431" v="197" actId="1037"/>
          <ac:picMkLst>
            <pc:docMk/>
            <pc:sldMk cId="3631951163" sldId="267"/>
            <ac:picMk id="29" creationId="{22CE956E-191C-CA98-A2C3-398CAC4B4578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026" creationId="{49E3E291-8116-6FCC-19DC-D608E41866D9}"/>
          </ac:picMkLst>
        </pc:picChg>
        <pc:picChg chg="add mod">
          <ac:chgData name="Koen Verbeeck" userId="24d0e79a7fd977da" providerId="LiveId" clId="{5B400C2A-FA18-41C8-9569-F9F1DF87B4FB}" dt="2023-04-01T12:33:43.909" v="251" actId="1076"/>
          <ac:picMkLst>
            <pc:docMk/>
            <pc:sldMk cId="3631951163" sldId="267"/>
            <ac:picMk id="1028" creationId="{22246D64-56FA-6463-C9A2-A75612F3AE90}"/>
          </ac:picMkLst>
        </pc:pic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14" creationId="{6CCB7373-81AF-1225-1741-6FFDDEA5F59C}"/>
          </ac:cxnSpMkLst>
        </pc:cxn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15" creationId="{79688FEC-A0BE-BB17-E5FB-C3597E502BB0}"/>
          </ac:cxnSpMkLst>
        </pc:cxn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18" creationId="{3CC0F771-FA89-8459-C5D2-D1AD19389377}"/>
          </ac:cxnSpMkLst>
        </pc:cxn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21" creationId="{C53C5860-7A00-92D0-3971-0EAABB00D7AC}"/>
          </ac:cxnSpMkLst>
        </pc:cxnChg>
        <pc:cxnChg chg="add mod">
          <ac:chgData name="Koen Verbeeck" userId="24d0e79a7fd977da" providerId="LiveId" clId="{5B400C2A-FA18-41C8-9569-F9F1DF87B4FB}" dt="2023-04-01T12:38:43.850" v="410" actId="1582"/>
          <ac:cxnSpMkLst>
            <pc:docMk/>
            <pc:sldMk cId="3631951163" sldId="267"/>
            <ac:cxnSpMk id="31" creationId="{AC2FD7E9-1B3D-553E-368E-4EE99405E447}"/>
          </ac:cxnSpMkLst>
        </pc:cxnChg>
      </pc:sldChg>
      <pc:sldChg chg="addSp del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1634845068" sldId="268"/>
        </pc:sldMkLst>
        <pc:spChg chg="mod ord">
          <ac:chgData name="Koen Verbeeck" userId="24d0e79a7fd977da" providerId="LiveId" clId="{5B400C2A-FA18-41C8-9569-F9F1DF87B4FB}" dt="2023-04-01T12:41:01.866" v="440" actId="166"/>
          <ac:spMkLst>
            <pc:docMk/>
            <pc:sldMk cId="1634845068" sldId="268"/>
            <ac:spMk id="2" creationId="{C7BCD8D8-31E2-21D3-1818-56A11FD312E0}"/>
          </ac:spMkLst>
        </pc:spChg>
        <pc:spChg chg="del">
          <ac:chgData name="Koen Verbeeck" userId="24d0e79a7fd977da" providerId="LiveId" clId="{5B400C2A-FA18-41C8-9569-F9F1DF87B4FB}" dt="2023-04-01T12:37:11.866" v="399" actId="478"/>
          <ac:spMkLst>
            <pc:docMk/>
            <pc:sldMk cId="1634845068" sldId="268"/>
            <ac:spMk id="3" creationId="{F9F64C4F-ED42-697E-9093-FCE4D8786E2D}"/>
          </ac:spMkLst>
        </pc:spChg>
        <pc:spChg chg="add mod">
          <ac:chgData name="Koen Verbeeck" userId="24d0e79a7fd977da" providerId="LiveId" clId="{5B400C2A-FA18-41C8-9569-F9F1DF87B4FB}" dt="2023-04-01T12:41:07.008" v="441" actId="1076"/>
          <ac:spMkLst>
            <pc:docMk/>
            <pc:sldMk cId="1634845068" sldId="268"/>
            <ac:spMk id="5" creationId="{4C908F2B-3020-2DD8-2FE6-D82F148A8714}"/>
          </ac:spMkLst>
        </pc:spChg>
        <pc:spChg chg="add mod">
          <ac:chgData name="Koen Verbeeck" userId="24d0e79a7fd977da" providerId="LiveId" clId="{5B400C2A-FA18-41C8-9569-F9F1DF87B4FB}" dt="2023-04-01T12:41:24.555" v="446" actId="1076"/>
          <ac:spMkLst>
            <pc:docMk/>
            <pc:sldMk cId="1634845068" sldId="268"/>
            <ac:spMk id="17" creationId="{DBEB7DAF-C611-B039-8270-65A58C5208FE}"/>
          </ac:spMkLst>
        </pc:spChg>
        <pc:spChg chg="add mod">
          <ac:chgData name="Koen Verbeeck" userId="24d0e79a7fd977da" providerId="LiveId" clId="{5B400C2A-FA18-41C8-9569-F9F1DF87B4FB}" dt="2023-04-01T12:42:17.424" v="454" actId="1076"/>
          <ac:spMkLst>
            <pc:docMk/>
            <pc:sldMk cId="1634845068" sldId="268"/>
            <ac:spMk id="22" creationId="{8E9AC33E-345B-312F-1CBF-F564B067B033}"/>
          </ac:spMkLst>
        </pc:spChg>
        <pc:picChg chg="add mod">
          <ac:chgData name="Koen Verbeeck" userId="24d0e79a7fd977da" providerId="LiveId" clId="{5B400C2A-FA18-41C8-9569-F9F1DF87B4FB}" dt="2023-04-01T12:37:24.300" v="404" actId="1076"/>
          <ac:picMkLst>
            <pc:docMk/>
            <pc:sldMk cId="1634845068" sldId="268"/>
            <ac:picMk id="4" creationId="{C36A5224-856C-300B-25B2-F7EF5DF69B23}"/>
          </ac:picMkLst>
        </pc:picChg>
        <pc:picChg chg="add mod">
          <ac:chgData name="Koen Verbeeck" userId="24d0e79a7fd977da" providerId="LiveId" clId="{5B400C2A-FA18-41C8-9569-F9F1DF87B4FB}" dt="2023-04-01T12:40:55.151" v="439" actId="1076"/>
          <ac:picMkLst>
            <pc:docMk/>
            <pc:sldMk cId="1634845068" sldId="268"/>
            <ac:picMk id="3074" creationId="{683B4DC2-DE78-6B3F-685A-6F0E9CCE6277}"/>
          </ac:picMkLst>
        </pc:picChg>
        <pc:cxnChg chg="add del mod">
          <ac:chgData name="Koen Verbeeck" userId="24d0e79a7fd977da" providerId="LiveId" clId="{5B400C2A-FA18-41C8-9569-F9F1DF87B4FB}" dt="2023-04-01T12:39:18.681" v="417" actId="478"/>
          <ac:cxnSpMkLst>
            <pc:docMk/>
            <pc:sldMk cId="1634845068" sldId="268"/>
            <ac:cxnSpMk id="7" creationId="{DC5AEE0D-0D21-B5EE-CFDE-F3CBA1FDD19C}"/>
          </ac:cxnSpMkLst>
        </pc:cxnChg>
        <pc:cxnChg chg="add mod">
          <ac:chgData name="Koen Verbeeck" userId="24d0e79a7fd977da" providerId="LiveId" clId="{5B400C2A-FA18-41C8-9569-F9F1DF87B4FB}" dt="2023-04-01T12:41:19.268" v="445" actId="14100"/>
          <ac:cxnSpMkLst>
            <pc:docMk/>
            <pc:sldMk cId="1634845068" sldId="268"/>
            <ac:cxnSpMk id="12" creationId="{3F78FF41-41D2-2B81-8E36-AA64893D4CF9}"/>
          </ac:cxnSpMkLst>
        </pc:cxnChg>
      </pc:sldChg>
      <pc:sldChg chg="addSp del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3877999930" sldId="269"/>
        </pc:sldMkLst>
        <pc:spChg chg="mod ord">
          <ac:chgData name="Koen Verbeeck" userId="24d0e79a7fd977da" providerId="LiveId" clId="{5B400C2A-FA18-41C8-9569-F9F1DF87B4FB}" dt="2023-04-01T12:45:22.503" v="506" actId="20577"/>
          <ac:spMkLst>
            <pc:docMk/>
            <pc:sldMk cId="3877999930" sldId="269"/>
            <ac:spMk id="2" creationId="{65C18D12-52DD-44A1-E4AD-640CDC7F9A52}"/>
          </ac:spMkLst>
        </pc:spChg>
        <pc:spChg chg="del">
          <ac:chgData name="Koen Verbeeck" userId="24d0e79a7fd977da" providerId="LiveId" clId="{5B400C2A-FA18-41C8-9569-F9F1DF87B4FB}" dt="2023-04-01T12:44:01.496" v="482" actId="478"/>
          <ac:spMkLst>
            <pc:docMk/>
            <pc:sldMk cId="3877999930" sldId="269"/>
            <ac:spMk id="3" creationId="{015806F7-1579-C821-1C6E-CD34D64C1320}"/>
          </ac:spMkLst>
        </pc:spChg>
        <pc:spChg chg="add mod">
          <ac:chgData name="Koen Verbeeck" userId="24d0e79a7fd977da" providerId="LiveId" clId="{5B400C2A-FA18-41C8-9569-F9F1DF87B4FB}" dt="2023-04-01T12:43:44.982" v="477"/>
          <ac:spMkLst>
            <pc:docMk/>
            <pc:sldMk cId="3877999930" sldId="269"/>
            <ac:spMk id="4" creationId="{D4377814-F50F-4E1E-23E6-0EB9B891E453}"/>
          </ac:spMkLst>
        </pc:spChg>
        <pc:spChg chg="add del">
          <ac:chgData name="Koen Verbeeck" userId="24d0e79a7fd977da" providerId="LiveId" clId="{5B400C2A-FA18-41C8-9569-F9F1DF87B4FB}" dt="2023-04-01T16:20:53.823" v="511"/>
          <ac:spMkLst>
            <pc:docMk/>
            <pc:sldMk cId="3877999930" sldId="269"/>
            <ac:spMk id="5" creationId="{787AA112-7992-79A7-BA23-A3017D30C00A}"/>
          </ac:spMkLst>
        </pc:spChg>
        <pc:picChg chg="add mod">
          <ac:chgData name="Koen Verbeeck" userId="24d0e79a7fd977da" providerId="LiveId" clId="{5B400C2A-FA18-41C8-9569-F9F1DF87B4FB}" dt="2023-04-01T16:21:43.324" v="535" actId="1038"/>
          <ac:picMkLst>
            <pc:docMk/>
            <pc:sldMk cId="3877999930" sldId="269"/>
            <ac:picMk id="6" creationId="{443646A4-A4D9-4850-F406-04F7ADA79739}"/>
          </ac:picMkLst>
        </pc:picChg>
        <pc:picChg chg="add mod">
          <ac:chgData name="Koen Verbeeck" userId="24d0e79a7fd977da" providerId="LiveId" clId="{5B400C2A-FA18-41C8-9569-F9F1DF87B4FB}" dt="2023-04-01T16:21:43.324" v="535" actId="1038"/>
          <ac:picMkLst>
            <pc:docMk/>
            <pc:sldMk cId="3877999930" sldId="269"/>
            <ac:picMk id="4098" creationId="{8FBCEF06-BAA1-67C6-7A50-F4C658622634}"/>
          </ac:picMkLst>
        </pc:picChg>
        <pc:cxnChg chg="add mod">
          <ac:chgData name="Koen Verbeeck" userId="24d0e79a7fd977da" providerId="LiveId" clId="{5B400C2A-FA18-41C8-9569-F9F1DF87B4FB}" dt="2023-04-01T16:21:43.324" v="535" actId="1038"/>
          <ac:cxnSpMkLst>
            <pc:docMk/>
            <pc:sldMk cId="3877999930" sldId="269"/>
            <ac:cxnSpMk id="8" creationId="{26028769-BC4D-8440-7969-B9824894FF71}"/>
          </ac:cxnSpMkLst>
        </pc:cxnChg>
      </pc:sldChg>
      <pc:sldChg chg="addSp delSp modSp new mod modTransition">
        <pc:chgData name="Koen Verbeeck" userId="24d0e79a7fd977da" providerId="LiveId" clId="{5B400C2A-FA18-41C8-9569-F9F1DF87B4FB}" dt="2023-04-23T14:59:23.171" v="2482"/>
        <pc:sldMkLst>
          <pc:docMk/>
          <pc:sldMk cId="2709856409" sldId="270"/>
        </pc:sldMkLst>
        <pc:spChg chg="mod">
          <ac:chgData name="Koen Verbeeck" userId="24d0e79a7fd977da" providerId="LiveId" clId="{5B400C2A-FA18-41C8-9569-F9F1DF87B4FB}" dt="2023-04-01T16:26:34.244" v="546" actId="20577"/>
          <ac:spMkLst>
            <pc:docMk/>
            <pc:sldMk cId="2709856409" sldId="270"/>
            <ac:spMk id="2" creationId="{6A2409B0-C45E-8844-9AD2-A5B1F6A6E9A2}"/>
          </ac:spMkLst>
        </pc:spChg>
        <pc:spChg chg="del">
          <ac:chgData name="Koen Verbeeck" userId="24d0e79a7fd977da" providerId="LiveId" clId="{5B400C2A-FA18-41C8-9569-F9F1DF87B4FB}" dt="2023-04-01T16:26:41.300" v="547" actId="478"/>
          <ac:spMkLst>
            <pc:docMk/>
            <pc:sldMk cId="2709856409" sldId="270"/>
            <ac:spMk id="3" creationId="{2E659BA1-5CC3-55A0-D355-1F6C6ECF8B62}"/>
          </ac:spMkLst>
        </pc:spChg>
        <pc:spChg chg="add del">
          <ac:chgData name="Koen Verbeeck" userId="24d0e79a7fd977da" providerId="LiveId" clId="{5B400C2A-FA18-41C8-9569-F9F1DF87B4FB}" dt="2023-04-01T16:26:44.057" v="549"/>
          <ac:spMkLst>
            <pc:docMk/>
            <pc:sldMk cId="2709856409" sldId="270"/>
            <ac:spMk id="4" creationId="{64429004-F368-E728-573C-8267915835B7}"/>
          </ac:spMkLst>
        </pc:spChg>
        <pc:spChg chg="add mod">
          <ac:chgData name="Koen Verbeeck" userId="24d0e79a7fd977da" providerId="LiveId" clId="{5B400C2A-FA18-41C8-9569-F9F1DF87B4FB}" dt="2023-04-01T16:28:07.035" v="578"/>
          <ac:spMkLst>
            <pc:docMk/>
            <pc:sldMk cId="2709856409" sldId="270"/>
            <ac:spMk id="6" creationId="{B5B354FA-2FF1-E3BB-6DB5-C71D3656EAD9}"/>
          </ac:spMkLst>
        </pc:spChg>
        <pc:picChg chg="add mod">
          <ac:chgData name="Koen Verbeeck" userId="24d0e79a7fd977da" providerId="LiveId" clId="{5B400C2A-FA18-41C8-9569-F9F1DF87B4FB}" dt="2023-04-01T16:26:56.190" v="562" actId="1035"/>
          <ac:picMkLst>
            <pc:docMk/>
            <pc:sldMk cId="2709856409" sldId="270"/>
            <ac:picMk id="5" creationId="{92A6AA0D-C38C-BADF-8E5C-1D96932CA95A}"/>
          </ac:picMkLst>
        </pc:picChg>
      </pc:sldChg>
      <pc:sldChg chg="addSp delSp modSp add mod modTransition">
        <pc:chgData name="Koen Verbeeck" userId="24d0e79a7fd977da" providerId="LiveId" clId="{5B400C2A-FA18-41C8-9569-F9F1DF87B4FB}" dt="2023-04-23T14:59:23.171" v="2482"/>
        <pc:sldMkLst>
          <pc:docMk/>
          <pc:sldMk cId="1855762607" sldId="271"/>
        </pc:sldMkLst>
        <pc:spChg chg="add mod">
          <ac:chgData name="Koen Verbeeck" userId="24d0e79a7fd977da" providerId="LiveId" clId="{5B400C2A-FA18-41C8-9569-F9F1DF87B4FB}" dt="2023-04-01T16:28:12.289" v="579"/>
          <ac:spMkLst>
            <pc:docMk/>
            <pc:sldMk cId="1855762607" sldId="271"/>
            <ac:spMk id="3" creationId="{8DE9B2AF-76F8-252A-9432-CA9D6A2E6128}"/>
          </ac:spMkLst>
        </pc:spChg>
        <pc:picChg chg="del">
          <ac:chgData name="Koen Verbeeck" userId="24d0e79a7fd977da" providerId="LiveId" clId="{5B400C2A-FA18-41C8-9569-F9F1DF87B4FB}" dt="2023-04-01T16:27:00.239" v="564" actId="478"/>
          <ac:picMkLst>
            <pc:docMk/>
            <pc:sldMk cId="1855762607" sldId="271"/>
            <ac:picMk id="5" creationId="{92A6AA0D-C38C-BADF-8E5C-1D96932CA95A}"/>
          </ac:picMkLst>
        </pc:picChg>
        <pc:picChg chg="add mod">
          <ac:chgData name="Koen Verbeeck" userId="24d0e79a7fd977da" providerId="LiveId" clId="{5B400C2A-FA18-41C8-9569-F9F1DF87B4FB}" dt="2023-04-01T16:27:15.559" v="566" actId="1076"/>
          <ac:picMkLst>
            <pc:docMk/>
            <pc:sldMk cId="1855762607" sldId="271"/>
            <ac:picMk id="6146" creationId="{7A12A3C6-6613-E4B4-EC22-7F42A61023DC}"/>
          </ac:picMkLst>
        </pc:picChg>
      </pc:sldChg>
      <pc:sldChg chg="addSp delSp modSp add mod modTransition">
        <pc:chgData name="Koen Verbeeck" userId="24d0e79a7fd977da" providerId="LiveId" clId="{5B400C2A-FA18-41C8-9569-F9F1DF87B4FB}" dt="2023-04-23T14:59:23.171" v="2482"/>
        <pc:sldMkLst>
          <pc:docMk/>
          <pc:sldMk cId="394067758" sldId="272"/>
        </pc:sldMkLst>
        <pc:spChg chg="add del">
          <ac:chgData name="Koen Verbeeck" userId="24d0e79a7fd977da" providerId="LiveId" clId="{5B400C2A-FA18-41C8-9569-F9F1DF87B4FB}" dt="2023-04-01T16:27:34.556" v="572"/>
          <ac:spMkLst>
            <pc:docMk/>
            <pc:sldMk cId="394067758" sldId="272"/>
            <ac:spMk id="3" creationId="{D84A8E1B-0B7A-E46F-BA77-E9FEB53588DF}"/>
          </ac:spMkLst>
        </pc:spChg>
        <pc:spChg chg="add mod">
          <ac:chgData name="Koen Verbeeck" userId="24d0e79a7fd977da" providerId="LiveId" clId="{5B400C2A-FA18-41C8-9569-F9F1DF87B4FB}" dt="2023-04-01T16:28:14.003" v="580"/>
          <ac:spMkLst>
            <pc:docMk/>
            <pc:sldMk cId="394067758" sldId="272"/>
            <ac:spMk id="5" creationId="{BDA9D926-BCFF-AE82-E695-876B249D5ECA}"/>
          </ac:spMkLst>
        </pc:spChg>
        <pc:picChg chg="add mod">
          <ac:chgData name="Koen Verbeeck" userId="24d0e79a7fd977da" providerId="LiveId" clId="{5B400C2A-FA18-41C8-9569-F9F1DF87B4FB}" dt="2023-04-01T16:27:41.078" v="574" actId="1076"/>
          <ac:picMkLst>
            <pc:docMk/>
            <pc:sldMk cId="394067758" sldId="272"/>
            <ac:picMk id="4" creationId="{EDC37536-7780-0046-6544-ED65790FFE18}"/>
          </ac:picMkLst>
        </pc:picChg>
        <pc:picChg chg="del">
          <ac:chgData name="Koen Verbeeck" userId="24d0e79a7fd977da" providerId="LiveId" clId="{5B400C2A-FA18-41C8-9569-F9F1DF87B4FB}" dt="2023-04-01T16:27:32.244" v="570" actId="478"/>
          <ac:picMkLst>
            <pc:docMk/>
            <pc:sldMk cId="394067758" sldId="272"/>
            <ac:picMk id="6146" creationId="{7A12A3C6-6613-E4B4-EC22-7F42A61023DC}"/>
          </ac:picMkLst>
        </pc:picChg>
      </pc:sldChg>
      <pc:sldChg chg="new del">
        <pc:chgData name="Koen Verbeeck" userId="24d0e79a7fd977da" providerId="LiveId" clId="{5B400C2A-FA18-41C8-9569-F9F1DF87B4FB}" dt="2023-04-01T16:27:25.522" v="568" actId="680"/>
        <pc:sldMkLst>
          <pc:docMk/>
          <pc:sldMk cId="1620056156" sldId="272"/>
        </pc:sldMkLst>
      </pc:sldChg>
      <pc:sldChg chg="addSp delSp modSp new mod ord modTransition modAnim">
        <pc:chgData name="Koen Verbeeck" userId="24d0e79a7fd977da" providerId="LiveId" clId="{5B400C2A-FA18-41C8-9569-F9F1DF87B4FB}" dt="2023-04-23T14:59:23.171" v="2482"/>
        <pc:sldMkLst>
          <pc:docMk/>
          <pc:sldMk cId="1258866789" sldId="273"/>
        </pc:sldMkLst>
        <pc:spChg chg="mod">
          <ac:chgData name="Koen Verbeeck" userId="24d0e79a7fd977da" providerId="LiveId" clId="{5B400C2A-FA18-41C8-9569-F9F1DF87B4FB}" dt="2023-04-01T16:30:06.752" v="594" actId="20577"/>
          <ac:spMkLst>
            <pc:docMk/>
            <pc:sldMk cId="1258866789" sldId="273"/>
            <ac:spMk id="2" creationId="{AFE4F2C4-3249-7082-8B75-D4A3C6343DD0}"/>
          </ac:spMkLst>
        </pc:spChg>
        <pc:spChg chg="del">
          <ac:chgData name="Koen Verbeeck" userId="24d0e79a7fd977da" providerId="LiveId" clId="{5B400C2A-FA18-41C8-9569-F9F1DF87B4FB}" dt="2023-04-01T16:30:08.879" v="595" actId="478"/>
          <ac:spMkLst>
            <pc:docMk/>
            <pc:sldMk cId="1258866789" sldId="273"/>
            <ac:spMk id="3" creationId="{6B6D98B4-5B89-B7CD-2EA0-E88EA575E567}"/>
          </ac:spMkLst>
        </pc:spChg>
        <pc:spChg chg="add del">
          <ac:chgData name="Koen Verbeeck" userId="24d0e79a7fd977da" providerId="LiveId" clId="{5B400C2A-FA18-41C8-9569-F9F1DF87B4FB}" dt="2023-04-01T16:30:11.500" v="597"/>
          <ac:spMkLst>
            <pc:docMk/>
            <pc:sldMk cId="1258866789" sldId="273"/>
            <ac:spMk id="4" creationId="{117F120E-FEB7-6FFA-711D-9F5C39F1639F}"/>
          </ac:spMkLst>
        </pc:spChg>
        <pc:spChg chg="add del">
          <ac:chgData name="Koen Verbeeck" userId="24d0e79a7fd977da" providerId="LiveId" clId="{5B400C2A-FA18-41C8-9569-F9F1DF87B4FB}" dt="2023-04-01T16:30:51.715" v="604"/>
          <ac:spMkLst>
            <pc:docMk/>
            <pc:sldMk cId="1258866789" sldId="273"/>
            <ac:spMk id="6" creationId="{F74E8337-A32B-2B3E-CBDD-8EACF91112CB}"/>
          </ac:spMkLst>
        </pc:spChg>
        <pc:spChg chg="add mod">
          <ac:chgData name="Koen Verbeeck" userId="24d0e79a7fd977da" providerId="LiveId" clId="{5B400C2A-FA18-41C8-9569-F9F1DF87B4FB}" dt="2023-04-01T16:31:50.374" v="619" actId="1035"/>
          <ac:spMkLst>
            <pc:docMk/>
            <pc:sldMk cId="1258866789" sldId="273"/>
            <ac:spMk id="8" creationId="{4989ACB2-2D15-4287-E5E7-9FF20BE26280}"/>
          </ac:spMkLst>
        </pc:spChg>
        <pc:picChg chg="add mod">
          <ac:chgData name="Koen Verbeeck" userId="24d0e79a7fd977da" providerId="LiveId" clId="{5B400C2A-FA18-41C8-9569-F9F1DF87B4FB}" dt="2023-04-01T16:31:11.179" v="608" actId="1076"/>
          <ac:picMkLst>
            <pc:docMk/>
            <pc:sldMk cId="1258866789" sldId="273"/>
            <ac:picMk id="5" creationId="{4AFC1565-2F85-FCA7-1761-D3D5BD884D6E}"/>
          </ac:picMkLst>
        </pc:picChg>
        <pc:picChg chg="add mod">
          <ac:chgData name="Koen Verbeeck" userId="24d0e79a7fd977da" providerId="LiveId" clId="{5B400C2A-FA18-41C8-9569-F9F1DF87B4FB}" dt="2023-04-01T16:30:59.320" v="607" actId="14100"/>
          <ac:picMkLst>
            <pc:docMk/>
            <pc:sldMk cId="1258866789" sldId="273"/>
            <ac:picMk id="7" creationId="{38C10B76-C33C-228A-908A-39CD87D8C0C1}"/>
          </ac:picMkLst>
        </pc:picChg>
      </pc:sldChg>
      <pc:sldChg chg="addSp delSp modSp new mod modTransition">
        <pc:chgData name="Koen Verbeeck" userId="24d0e79a7fd977da" providerId="LiveId" clId="{5B400C2A-FA18-41C8-9569-F9F1DF87B4FB}" dt="2023-04-23T14:59:23.171" v="2482"/>
        <pc:sldMkLst>
          <pc:docMk/>
          <pc:sldMk cId="2491004676" sldId="274"/>
        </pc:sldMkLst>
        <pc:spChg chg="mod">
          <ac:chgData name="Koen Verbeeck" userId="24d0e79a7fd977da" providerId="LiveId" clId="{5B400C2A-FA18-41C8-9569-F9F1DF87B4FB}" dt="2023-04-01T16:37:04.707" v="631" actId="20577"/>
          <ac:spMkLst>
            <pc:docMk/>
            <pc:sldMk cId="2491004676" sldId="274"/>
            <ac:spMk id="2" creationId="{BE23682C-D420-2317-7DE3-1CEF04A80827}"/>
          </ac:spMkLst>
        </pc:spChg>
        <pc:spChg chg="del">
          <ac:chgData name="Koen Verbeeck" userId="24d0e79a7fd977da" providerId="LiveId" clId="{5B400C2A-FA18-41C8-9569-F9F1DF87B4FB}" dt="2023-04-01T16:37:07.142" v="632" actId="478"/>
          <ac:spMkLst>
            <pc:docMk/>
            <pc:sldMk cId="2491004676" sldId="274"/>
            <ac:spMk id="3" creationId="{42282AD6-44CC-68AC-9CF9-343F6A903915}"/>
          </ac:spMkLst>
        </pc:spChg>
        <pc:spChg chg="add del">
          <ac:chgData name="Koen Verbeeck" userId="24d0e79a7fd977da" providerId="LiveId" clId="{5B400C2A-FA18-41C8-9569-F9F1DF87B4FB}" dt="2023-04-01T16:37:09.589" v="634"/>
          <ac:spMkLst>
            <pc:docMk/>
            <pc:sldMk cId="2491004676" sldId="274"/>
            <ac:spMk id="4" creationId="{FAD8052E-FDD6-A0A4-1140-32989EC58C22}"/>
          </ac:spMkLst>
        </pc:spChg>
        <pc:spChg chg="add mod">
          <ac:chgData name="Koen Verbeeck" userId="24d0e79a7fd977da" providerId="LiveId" clId="{5B400C2A-FA18-41C8-9569-F9F1DF87B4FB}" dt="2023-04-01T16:37:32.077" v="639" actId="14100"/>
          <ac:spMkLst>
            <pc:docMk/>
            <pc:sldMk cId="2491004676" sldId="274"/>
            <ac:spMk id="6" creationId="{BE744B6C-69DE-D498-1700-53E86E2A48DF}"/>
          </ac:spMkLst>
        </pc:spChg>
        <pc:picChg chg="add mod">
          <ac:chgData name="Koen Verbeeck" userId="24d0e79a7fd977da" providerId="LiveId" clId="{5B400C2A-FA18-41C8-9569-F9F1DF87B4FB}" dt="2023-04-01T16:37:12.543" v="636" actId="1076"/>
          <ac:picMkLst>
            <pc:docMk/>
            <pc:sldMk cId="2491004676" sldId="274"/>
            <ac:picMk id="5" creationId="{D78FBD8C-013F-8DC6-CDD0-9E136908B4C8}"/>
          </ac:picMkLst>
        </pc:picChg>
      </pc:sldChg>
      <pc:sldChg chg="addSp delSp modSp new mod modTransition">
        <pc:chgData name="Koen Verbeeck" userId="24d0e79a7fd977da" providerId="LiveId" clId="{5B400C2A-FA18-41C8-9569-F9F1DF87B4FB}" dt="2023-04-23T14:59:23.171" v="2482"/>
        <pc:sldMkLst>
          <pc:docMk/>
          <pc:sldMk cId="3147607414" sldId="275"/>
        </pc:sldMkLst>
        <pc:spChg chg="mod">
          <ac:chgData name="Koen Verbeeck" userId="24d0e79a7fd977da" providerId="LiveId" clId="{5B400C2A-FA18-41C8-9569-F9F1DF87B4FB}" dt="2023-04-01T16:37:41.676" v="655" actId="20577"/>
          <ac:spMkLst>
            <pc:docMk/>
            <pc:sldMk cId="3147607414" sldId="275"/>
            <ac:spMk id="2" creationId="{A0B848AB-5A7D-015F-3D18-33360729A657}"/>
          </ac:spMkLst>
        </pc:spChg>
        <pc:spChg chg="del">
          <ac:chgData name="Koen Verbeeck" userId="24d0e79a7fd977da" providerId="LiveId" clId="{5B400C2A-FA18-41C8-9569-F9F1DF87B4FB}" dt="2023-04-01T16:38:43.580" v="656" actId="478"/>
          <ac:spMkLst>
            <pc:docMk/>
            <pc:sldMk cId="3147607414" sldId="275"/>
            <ac:spMk id="3" creationId="{BC23ECF1-7389-D2B5-F98B-50DC4AC3E783}"/>
          </ac:spMkLst>
        </pc:spChg>
        <pc:picChg chg="add mod modCrop">
          <ac:chgData name="Koen Verbeeck" userId="24d0e79a7fd977da" providerId="LiveId" clId="{5B400C2A-FA18-41C8-9569-F9F1DF87B4FB}" dt="2023-04-01T16:40:31.094" v="665" actId="554"/>
          <ac:picMkLst>
            <pc:docMk/>
            <pc:sldMk cId="3147607414" sldId="275"/>
            <ac:picMk id="5" creationId="{B250E658-FB36-3A4B-1C22-B9E7634F11D7}"/>
          </ac:picMkLst>
        </pc:picChg>
        <pc:picChg chg="add mod">
          <ac:chgData name="Koen Verbeeck" userId="24d0e79a7fd977da" providerId="LiveId" clId="{5B400C2A-FA18-41C8-9569-F9F1DF87B4FB}" dt="2023-04-01T16:40:31.094" v="665" actId="554"/>
          <ac:picMkLst>
            <pc:docMk/>
            <pc:sldMk cId="3147607414" sldId="275"/>
            <ac:picMk id="7" creationId="{C550A90E-F92A-D350-AFCA-530B565194B6}"/>
          </ac:picMkLst>
        </pc:picChg>
      </pc:sldChg>
      <pc:sldChg chg="addSp del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1507216086" sldId="276"/>
        </pc:sldMkLst>
        <pc:spChg chg="mod">
          <ac:chgData name="Koen Verbeeck" userId="24d0e79a7fd977da" providerId="LiveId" clId="{5B400C2A-FA18-41C8-9569-F9F1DF87B4FB}" dt="2023-04-01T16:50:25.340" v="677" actId="20577"/>
          <ac:spMkLst>
            <pc:docMk/>
            <pc:sldMk cId="1507216086" sldId="276"/>
            <ac:spMk id="2" creationId="{497E0BF6-0D7E-EF2F-5D58-C3A548970952}"/>
          </ac:spMkLst>
        </pc:spChg>
        <pc:spChg chg="del">
          <ac:chgData name="Koen Verbeeck" userId="24d0e79a7fd977da" providerId="LiveId" clId="{5B400C2A-FA18-41C8-9569-F9F1DF87B4FB}" dt="2023-04-01T16:50:28.095" v="678" actId="478"/>
          <ac:spMkLst>
            <pc:docMk/>
            <pc:sldMk cId="1507216086" sldId="276"/>
            <ac:spMk id="3" creationId="{FDD3BCBB-2405-40AB-1C20-68C2CCF4EEB8}"/>
          </ac:spMkLst>
        </pc:spChg>
        <pc:picChg chg="add mod">
          <ac:chgData name="Koen Verbeeck" userId="24d0e79a7fd977da" providerId="LiveId" clId="{5B400C2A-FA18-41C8-9569-F9F1DF87B4FB}" dt="2023-04-01T16:51:01.759" v="683" actId="1076"/>
          <ac:picMkLst>
            <pc:docMk/>
            <pc:sldMk cId="1507216086" sldId="276"/>
            <ac:picMk id="5" creationId="{BE3E3109-E186-2285-FFE2-6E1EA86175FC}"/>
          </ac:picMkLst>
        </pc:picChg>
        <pc:picChg chg="add mod">
          <ac:chgData name="Koen Verbeeck" userId="24d0e79a7fd977da" providerId="LiveId" clId="{5B400C2A-FA18-41C8-9569-F9F1DF87B4FB}" dt="2023-04-01T16:51:26.815" v="685" actId="1076"/>
          <ac:picMkLst>
            <pc:docMk/>
            <pc:sldMk cId="1507216086" sldId="276"/>
            <ac:picMk id="6" creationId="{CDD342F9-A2D9-9AF1-548E-E5B852306225}"/>
          </ac:picMkLst>
        </pc:picChg>
      </pc:sldChg>
      <pc:sldChg chg="addSp delSp modSp add mod modTransition modAnim">
        <pc:chgData name="Koen Verbeeck" userId="24d0e79a7fd977da" providerId="LiveId" clId="{5B400C2A-FA18-41C8-9569-F9F1DF87B4FB}" dt="2023-04-23T14:59:23.171" v="2482"/>
        <pc:sldMkLst>
          <pc:docMk/>
          <pc:sldMk cId="2797954201" sldId="277"/>
        </pc:sldMkLst>
        <pc:spChg chg="add mod">
          <ac:chgData name="Koen Verbeeck" userId="24d0e79a7fd977da" providerId="LiveId" clId="{5B400C2A-FA18-41C8-9569-F9F1DF87B4FB}" dt="2023-04-21T17:35:53.426" v="760" actId="1582"/>
          <ac:spMkLst>
            <pc:docMk/>
            <pc:sldMk cId="2797954201" sldId="277"/>
            <ac:spMk id="19" creationId="{6362849F-5EE9-A8FF-EFDA-E6914D7290A6}"/>
          </ac:spMkLst>
        </pc:spChg>
        <pc:picChg chg="add del mod">
          <ac:chgData name="Koen Verbeeck" userId="24d0e79a7fd977da" providerId="LiveId" clId="{5B400C2A-FA18-41C8-9569-F9F1DF87B4FB}" dt="2023-04-21T17:34:08.742" v="750" actId="478"/>
          <ac:picMkLst>
            <pc:docMk/>
            <pc:sldMk cId="2797954201" sldId="277"/>
            <ac:picMk id="13" creationId="{366F7C30-B183-8C64-1BD5-9C1AB575417D}"/>
          </ac:picMkLst>
        </pc:picChg>
        <pc:picChg chg="add mod">
          <ac:chgData name="Koen Verbeeck" userId="24d0e79a7fd977da" providerId="LiveId" clId="{5B400C2A-FA18-41C8-9569-F9F1DF87B4FB}" dt="2023-04-21T17:35:17.775" v="755" actId="1076"/>
          <ac:picMkLst>
            <pc:docMk/>
            <pc:sldMk cId="2797954201" sldId="277"/>
            <ac:picMk id="17" creationId="{33EDAC58-D264-EE6A-12AA-60E5C4BF538E}"/>
          </ac:picMkLst>
        </pc:picChg>
        <pc:picChg chg="del">
          <ac:chgData name="Koen Verbeeck" userId="24d0e79a7fd977da" providerId="LiveId" clId="{5B400C2A-FA18-41C8-9569-F9F1DF87B4FB}" dt="2023-04-03T08:06:49.289" v="687" actId="478"/>
          <ac:picMkLst>
            <pc:docMk/>
            <pc:sldMk cId="2797954201" sldId="277"/>
            <ac:picMk id="29" creationId="{22CE956E-191C-CA98-A2C3-398CAC4B4578}"/>
          </ac:picMkLst>
        </pc:picChg>
        <pc:cxnChg chg="mod">
          <ac:chgData name="Koen Verbeeck" userId="24d0e79a7fd977da" providerId="LiveId" clId="{5B400C2A-FA18-41C8-9569-F9F1DF87B4FB}" dt="2023-04-21T17:35:44.374" v="759" actId="1076"/>
          <ac:cxnSpMkLst>
            <pc:docMk/>
            <pc:sldMk cId="2797954201" sldId="277"/>
            <ac:cxnSpMk id="31" creationId="{AC2FD7E9-1B3D-553E-368E-4EE99405E447}"/>
          </ac:cxnSpMkLst>
        </pc:cxnChg>
      </pc:sldChg>
      <pc:sldChg chg="modSp new mod modTransition">
        <pc:chgData name="Koen Verbeeck" userId="24d0e79a7fd977da" providerId="LiveId" clId="{5B400C2A-FA18-41C8-9569-F9F1DF87B4FB}" dt="2023-04-23T14:59:23.171" v="2482"/>
        <pc:sldMkLst>
          <pc:docMk/>
          <pc:sldMk cId="3100968282" sldId="278"/>
        </pc:sldMkLst>
        <pc:spChg chg="mod">
          <ac:chgData name="Koen Verbeeck" userId="24d0e79a7fd977da" providerId="LiveId" clId="{5B400C2A-FA18-41C8-9569-F9F1DF87B4FB}" dt="2023-04-14T16:53:51.295" v="744" actId="20577"/>
          <ac:spMkLst>
            <pc:docMk/>
            <pc:sldMk cId="3100968282" sldId="278"/>
            <ac:spMk id="2" creationId="{CE2DF406-119B-F1DE-376F-179E0BB7BD68}"/>
          </ac:spMkLst>
        </pc:spChg>
        <pc:spChg chg="mod">
          <ac:chgData name="Koen Verbeeck" userId="24d0e79a7fd977da" providerId="LiveId" clId="{5B400C2A-FA18-41C8-9569-F9F1DF87B4FB}" dt="2023-04-21T19:08:06.021" v="1189" actId="20577"/>
          <ac:spMkLst>
            <pc:docMk/>
            <pc:sldMk cId="3100968282" sldId="278"/>
            <ac:spMk id="3" creationId="{6BA3599B-47E8-4ABB-8DBD-C383AC1EF56A}"/>
          </ac:spMkLst>
        </pc:spChg>
      </pc:sldChg>
      <pc:sldChg chg="addSp delSp modSp new mod modTransition modClrScheme modAnim chgLayout">
        <pc:chgData name="Koen Verbeeck" userId="24d0e79a7fd977da" providerId="LiveId" clId="{5B400C2A-FA18-41C8-9569-F9F1DF87B4FB}" dt="2023-04-23T15:00:17.785" v="2487"/>
        <pc:sldMkLst>
          <pc:docMk/>
          <pc:sldMk cId="2896412339" sldId="279"/>
        </pc:sldMkLst>
        <pc:spChg chg="del mod ord">
          <ac:chgData name="Koen Verbeeck" userId="24d0e79a7fd977da" providerId="LiveId" clId="{5B400C2A-FA18-41C8-9569-F9F1DF87B4FB}" dt="2023-04-21T17:36:26.117" v="762" actId="700"/>
          <ac:spMkLst>
            <pc:docMk/>
            <pc:sldMk cId="2896412339" sldId="279"/>
            <ac:spMk id="2" creationId="{7E613AF8-324B-A14D-8587-16E004FECE8A}"/>
          </ac:spMkLst>
        </pc:spChg>
        <pc:spChg chg="add mod ord">
          <ac:chgData name="Koen Verbeeck" userId="24d0e79a7fd977da" providerId="LiveId" clId="{5B400C2A-FA18-41C8-9569-F9F1DF87B4FB}" dt="2023-04-21T17:36:42.734" v="792" actId="20577"/>
          <ac:spMkLst>
            <pc:docMk/>
            <pc:sldMk cId="2896412339" sldId="279"/>
            <ac:spMk id="3" creationId="{608EA40A-55AE-2F61-B8BD-2D1919F461D7}"/>
          </ac:spMkLst>
        </pc:spChg>
        <pc:spChg chg="add del mod ord">
          <ac:chgData name="Koen Verbeeck" userId="24d0e79a7fd977da" providerId="LiveId" clId="{5B400C2A-FA18-41C8-9569-F9F1DF87B4FB}" dt="2023-04-21T18:54:57.774" v="795" actId="478"/>
          <ac:spMkLst>
            <pc:docMk/>
            <pc:sldMk cId="2896412339" sldId="279"/>
            <ac:spMk id="4" creationId="{8A482657-01BD-D12E-1726-F072996B2041}"/>
          </ac:spMkLst>
        </pc:spChg>
        <pc:picChg chg="add mod">
          <ac:chgData name="Koen Verbeeck" userId="24d0e79a7fd977da" providerId="LiveId" clId="{5B400C2A-FA18-41C8-9569-F9F1DF87B4FB}" dt="2023-04-21T18:54:55.865" v="794" actId="1076"/>
          <ac:picMkLst>
            <pc:docMk/>
            <pc:sldMk cId="2896412339" sldId="279"/>
            <ac:picMk id="6" creationId="{C1CABB03-3F0A-3210-041E-1512E208A2EF}"/>
          </ac:picMkLst>
        </pc:picChg>
        <pc:picChg chg="add mod">
          <ac:chgData name="Koen Verbeeck" userId="24d0e79a7fd977da" providerId="LiveId" clId="{5B400C2A-FA18-41C8-9569-F9F1DF87B4FB}" dt="2023-04-21T18:55:57.548" v="801" actId="1076"/>
          <ac:picMkLst>
            <pc:docMk/>
            <pc:sldMk cId="2896412339" sldId="279"/>
            <ac:picMk id="8" creationId="{F96A9EA3-DD7B-F402-1DF2-6B8C8F69373E}"/>
          </ac:picMkLst>
        </pc:picChg>
        <pc:picChg chg="add mod">
          <ac:chgData name="Koen Verbeeck" userId="24d0e79a7fd977da" providerId="LiveId" clId="{5B400C2A-FA18-41C8-9569-F9F1DF87B4FB}" dt="2023-04-21T18:57:39.906" v="811" actId="1076"/>
          <ac:picMkLst>
            <pc:docMk/>
            <pc:sldMk cId="2896412339" sldId="279"/>
            <ac:picMk id="1026" creationId="{080F0402-E3DC-7D0C-A99B-819E49BA082F}"/>
          </ac:picMkLst>
        </pc:picChg>
        <pc:picChg chg="add mod">
          <ac:chgData name="Koen Verbeeck" userId="24d0e79a7fd977da" providerId="LiveId" clId="{5B400C2A-FA18-41C8-9569-F9F1DF87B4FB}" dt="2023-04-21T18:57:42.723" v="812" actId="1076"/>
          <ac:picMkLst>
            <pc:docMk/>
            <pc:sldMk cId="2896412339" sldId="279"/>
            <ac:picMk id="1028" creationId="{842260C5-33E9-D8D6-0656-78C3FDCBE324}"/>
          </ac:picMkLst>
        </pc:picChg>
        <pc:picChg chg="add mod">
          <ac:chgData name="Koen Verbeeck" userId="24d0e79a7fd977da" providerId="LiveId" clId="{5B400C2A-FA18-41C8-9569-F9F1DF87B4FB}" dt="2023-04-21T18:57:56.391" v="815" actId="1076"/>
          <ac:picMkLst>
            <pc:docMk/>
            <pc:sldMk cId="2896412339" sldId="279"/>
            <ac:picMk id="1030" creationId="{EE0726A7-AD65-2B3F-3FC2-880821395045}"/>
          </ac:picMkLst>
        </pc:picChg>
      </pc:sldChg>
      <pc:sldChg chg="addSp modSp new mod modTransition modAnim">
        <pc:chgData name="Koen Verbeeck" userId="24d0e79a7fd977da" providerId="LiveId" clId="{5B400C2A-FA18-41C8-9569-F9F1DF87B4FB}" dt="2023-04-23T14:59:23.171" v="2482"/>
        <pc:sldMkLst>
          <pc:docMk/>
          <pc:sldMk cId="2792307224" sldId="280"/>
        </pc:sldMkLst>
        <pc:spChg chg="mod">
          <ac:chgData name="Koen Verbeeck" userId="24d0e79a7fd977da" providerId="LiveId" clId="{5B400C2A-FA18-41C8-9569-F9F1DF87B4FB}" dt="2023-04-21T18:58:30.724" v="827" actId="20577"/>
          <ac:spMkLst>
            <pc:docMk/>
            <pc:sldMk cId="2792307224" sldId="280"/>
            <ac:spMk id="2" creationId="{6511813E-AC4E-156D-513E-B4D1273EE2CA}"/>
          </ac:spMkLst>
        </pc:spChg>
        <pc:spChg chg="add mod">
          <ac:chgData name="Koen Verbeeck" userId="24d0e79a7fd977da" providerId="LiveId" clId="{5B400C2A-FA18-41C8-9569-F9F1DF87B4FB}" dt="2023-04-21T18:59:16.518" v="835" actId="14100"/>
          <ac:spMkLst>
            <pc:docMk/>
            <pc:sldMk cId="2792307224" sldId="280"/>
            <ac:spMk id="6" creationId="{E563DB63-5B38-647D-1C7A-306E7F304D2E}"/>
          </ac:spMkLst>
        </pc:spChg>
        <pc:spChg chg="add mod">
          <ac:chgData name="Koen Verbeeck" userId="24d0e79a7fd977da" providerId="LiveId" clId="{5B400C2A-FA18-41C8-9569-F9F1DF87B4FB}" dt="2023-04-21T18:59:24.206" v="839" actId="1076"/>
          <ac:spMkLst>
            <pc:docMk/>
            <pc:sldMk cId="2792307224" sldId="280"/>
            <ac:spMk id="7" creationId="{68F2CEAF-1D6E-C531-3503-656D92D07C0F}"/>
          </ac:spMkLst>
        </pc:spChg>
        <pc:picChg chg="add mod">
          <ac:chgData name="Koen Verbeeck" userId="24d0e79a7fd977da" providerId="LiveId" clId="{5B400C2A-FA18-41C8-9569-F9F1DF87B4FB}" dt="2023-04-21T18:59:19.536" v="838" actId="1076"/>
          <ac:picMkLst>
            <pc:docMk/>
            <pc:sldMk cId="2792307224" sldId="280"/>
            <ac:picMk id="5" creationId="{FB0A6B11-9E0B-47CE-13FE-91C0D4E3C1D6}"/>
          </ac:picMkLst>
        </pc:picChg>
      </pc:sldChg>
      <pc:sldChg chg="addSp modSp add mod modTransition">
        <pc:chgData name="Koen Verbeeck" userId="24d0e79a7fd977da" providerId="LiveId" clId="{5B400C2A-FA18-41C8-9569-F9F1DF87B4FB}" dt="2023-04-23T14:59:23.171" v="2482"/>
        <pc:sldMkLst>
          <pc:docMk/>
          <pc:sldMk cId="200734990" sldId="281"/>
        </pc:sldMkLst>
        <pc:spChg chg="mod">
          <ac:chgData name="Koen Verbeeck" userId="24d0e79a7fd977da" providerId="LiveId" clId="{5B400C2A-FA18-41C8-9569-F9F1DF87B4FB}" dt="2023-04-23T10:36:18.175" v="1268" actId="5793"/>
          <ac:spMkLst>
            <pc:docMk/>
            <pc:sldMk cId="200734990" sldId="281"/>
            <ac:spMk id="3" creationId="{6BA3599B-47E8-4ABB-8DBD-C383AC1EF56A}"/>
          </ac:spMkLst>
        </pc:spChg>
        <pc:picChg chg="add mod">
          <ac:chgData name="Koen Verbeeck" userId="24d0e79a7fd977da" providerId="LiveId" clId="{5B400C2A-FA18-41C8-9569-F9F1DF87B4FB}" dt="2023-04-21T19:11:00.549" v="1267" actId="1076"/>
          <ac:picMkLst>
            <pc:docMk/>
            <pc:sldMk cId="200734990" sldId="281"/>
            <ac:picMk id="5" creationId="{B1153BAF-8983-764D-8E49-87CE29043000}"/>
          </ac:picMkLst>
        </pc:picChg>
      </pc:sldChg>
      <pc:sldChg chg="addSp modSp new mod modTransition">
        <pc:chgData name="Koen Verbeeck" userId="24d0e79a7fd977da" providerId="LiveId" clId="{5B400C2A-FA18-41C8-9569-F9F1DF87B4FB}" dt="2023-04-23T14:59:23.171" v="2482"/>
        <pc:sldMkLst>
          <pc:docMk/>
          <pc:sldMk cId="1778802920" sldId="282"/>
        </pc:sldMkLst>
        <pc:spChg chg="mod">
          <ac:chgData name="Koen Verbeeck" userId="24d0e79a7fd977da" providerId="LiveId" clId="{5B400C2A-FA18-41C8-9569-F9F1DF87B4FB}" dt="2023-04-23T10:36:27.662" v="1272" actId="20577"/>
          <ac:spMkLst>
            <pc:docMk/>
            <pc:sldMk cId="1778802920" sldId="282"/>
            <ac:spMk id="2" creationId="{DBA7D410-AE9E-9835-AB26-B2FB60011598}"/>
          </ac:spMkLst>
        </pc:spChg>
        <pc:spChg chg="mod">
          <ac:chgData name="Koen Verbeeck" userId="24d0e79a7fd977da" providerId="LiveId" clId="{5B400C2A-FA18-41C8-9569-F9F1DF87B4FB}" dt="2023-04-23T14:03:27.766" v="1450" actId="20577"/>
          <ac:spMkLst>
            <pc:docMk/>
            <pc:sldMk cId="1778802920" sldId="282"/>
            <ac:spMk id="3" creationId="{BC963794-FC05-A375-A643-969DBC3331A6}"/>
          </ac:spMkLst>
        </pc:spChg>
        <pc:picChg chg="add mod">
          <ac:chgData name="Koen Verbeeck" userId="24d0e79a7fd977da" providerId="LiveId" clId="{5B400C2A-FA18-41C8-9569-F9F1DF87B4FB}" dt="2023-04-23T10:37:04.068" v="1276" actId="14100"/>
          <ac:picMkLst>
            <pc:docMk/>
            <pc:sldMk cId="1778802920" sldId="282"/>
            <ac:picMk id="5" creationId="{BD56DD31-67DC-0598-C87A-9032CC345FD2}"/>
          </ac:picMkLst>
        </pc:picChg>
      </pc:sldChg>
      <pc:sldChg chg="addSp delSp modSp new mod modTransition modAnim">
        <pc:chgData name="Koen Verbeeck" userId="24d0e79a7fd977da" providerId="LiveId" clId="{5B400C2A-FA18-41C8-9569-F9F1DF87B4FB}" dt="2023-04-23T15:02:34.092" v="2491"/>
        <pc:sldMkLst>
          <pc:docMk/>
          <pc:sldMk cId="4244382607" sldId="283"/>
        </pc:sldMkLst>
        <pc:spChg chg="mod">
          <ac:chgData name="Koen Verbeeck" userId="24d0e79a7fd977da" providerId="LiveId" clId="{5B400C2A-FA18-41C8-9569-F9F1DF87B4FB}" dt="2023-04-23T14:03:36.949" v="1454" actId="20577"/>
          <ac:spMkLst>
            <pc:docMk/>
            <pc:sldMk cId="4244382607" sldId="283"/>
            <ac:spMk id="2" creationId="{946E8ABB-376F-E351-8CD5-3E5474BF8B5C}"/>
          </ac:spMkLst>
        </pc:spChg>
        <pc:spChg chg="del">
          <ac:chgData name="Koen Verbeeck" userId="24d0e79a7fd977da" providerId="LiveId" clId="{5B400C2A-FA18-41C8-9569-F9F1DF87B4FB}" dt="2023-04-23T15:01:11.731" v="2489" actId="478"/>
          <ac:spMkLst>
            <pc:docMk/>
            <pc:sldMk cId="4244382607" sldId="283"/>
            <ac:spMk id="3" creationId="{6627D03B-70FE-A650-9FED-9705AC7770B0}"/>
          </ac:spMkLst>
        </pc:spChg>
        <pc:picChg chg="add mod">
          <ac:chgData name="Koen Verbeeck" userId="24d0e79a7fd977da" providerId="LiveId" clId="{5B400C2A-FA18-41C8-9569-F9F1DF87B4FB}" dt="2023-04-23T15:01:13.705" v="2490" actId="1076"/>
          <ac:picMkLst>
            <pc:docMk/>
            <pc:sldMk cId="4244382607" sldId="283"/>
            <ac:picMk id="4" creationId="{6179BC4B-C709-11C8-0D17-929710544D9F}"/>
          </ac:picMkLst>
        </pc:picChg>
        <pc:picChg chg="add mod modCrop">
          <ac:chgData name="Koen Verbeeck" userId="24d0e79a7fd977da" providerId="LiveId" clId="{5B400C2A-FA18-41C8-9569-F9F1DF87B4FB}" dt="2023-04-23T14:05:19.558" v="1463" actId="1076"/>
          <ac:picMkLst>
            <pc:docMk/>
            <pc:sldMk cId="4244382607" sldId="283"/>
            <ac:picMk id="5" creationId="{7FDB537E-B494-AFA1-FDA1-BE852667B19E}"/>
          </ac:picMkLst>
        </pc:picChg>
      </pc:sldChg>
      <pc:sldChg chg="addSp modSp new mod modTransition">
        <pc:chgData name="Koen Verbeeck" userId="24d0e79a7fd977da" providerId="LiveId" clId="{5B400C2A-FA18-41C8-9569-F9F1DF87B4FB}" dt="2023-04-23T14:59:23.171" v="2482"/>
        <pc:sldMkLst>
          <pc:docMk/>
          <pc:sldMk cId="3690182495" sldId="284"/>
        </pc:sldMkLst>
        <pc:spChg chg="mod">
          <ac:chgData name="Koen Verbeeck" userId="24d0e79a7fd977da" providerId="LiveId" clId="{5B400C2A-FA18-41C8-9569-F9F1DF87B4FB}" dt="2023-04-23T14:05:34.130" v="1467" actId="20577"/>
          <ac:spMkLst>
            <pc:docMk/>
            <pc:sldMk cId="3690182495" sldId="284"/>
            <ac:spMk id="2" creationId="{D6DEC8F0-0317-676D-4C2D-D2D9DA735AC0}"/>
          </ac:spMkLst>
        </pc:spChg>
        <pc:picChg chg="add mod">
          <ac:chgData name="Koen Verbeeck" userId="24d0e79a7fd977da" providerId="LiveId" clId="{5B400C2A-FA18-41C8-9569-F9F1DF87B4FB}" dt="2023-04-23T14:05:54.236" v="1470" actId="14100"/>
          <ac:picMkLst>
            <pc:docMk/>
            <pc:sldMk cId="3690182495" sldId="284"/>
            <ac:picMk id="4" creationId="{4251B3F3-609F-DFE0-A80B-19CE91859384}"/>
          </ac:picMkLst>
        </pc:picChg>
      </pc:sldChg>
      <pc:sldChg chg="addSp delSp modSp new mod modTransition modAnim">
        <pc:chgData name="Koen Verbeeck" userId="24d0e79a7fd977da" providerId="LiveId" clId="{5B400C2A-FA18-41C8-9569-F9F1DF87B4FB}" dt="2023-04-23T15:02:50.887" v="2495"/>
        <pc:sldMkLst>
          <pc:docMk/>
          <pc:sldMk cId="33954095" sldId="285"/>
        </pc:sldMkLst>
        <pc:spChg chg="mod">
          <ac:chgData name="Koen Verbeeck" userId="24d0e79a7fd977da" providerId="LiveId" clId="{5B400C2A-FA18-41C8-9569-F9F1DF87B4FB}" dt="2023-04-23T14:06:02.371" v="1474" actId="20577"/>
          <ac:spMkLst>
            <pc:docMk/>
            <pc:sldMk cId="33954095" sldId="285"/>
            <ac:spMk id="2" creationId="{5AE28558-26AA-373E-C4D6-93E33D5015BD}"/>
          </ac:spMkLst>
        </pc:spChg>
        <pc:spChg chg="del">
          <ac:chgData name="Koen Verbeeck" userId="24d0e79a7fd977da" providerId="LiveId" clId="{5B400C2A-FA18-41C8-9569-F9F1DF87B4FB}" dt="2023-04-23T14:06:52.040" v="1479"/>
          <ac:spMkLst>
            <pc:docMk/>
            <pc:sldMk cId="33954095" sldId="285"/>
            <ac:spMk id="3" creationId="{353BD9DF-B827-8C83-1A90-81DC0EE8D5C0}"/>
          </ac:spMkLst>
        </pc:spChg>
        <pc:picChg chg="add mod modCrop">
          <ac:chgData name="Koen Verbeeck" userId="24d0e79a7fd977da" providerId="LiveId" clId="{5B400C2A-FA18-41C8-9569-F9F1DF87B4FB}" dt="2023-04-23T15:02:43.867" v="2492" actId="1076"/>
          <ac:picMkLst>
            <pc:docMk/>
            <pc:sldMk cId="33954095" sldId="285"/>
            <ac:picMk id="4" creationId="{6708A417-4A31-812E-8EDC-552224973895}"/>
          </ac:picMkLst>
        </pc:picChg>
        <pc:picChg chg="add mod">
          <ac:chgData name="Koen Verbeeck" userId="24d0e79a7fd977da" providerId="LiveId" clId="{5B400C2A-FA18-41C8-9569-F9F1DF87B4FB}" dt="2023-04-23T14:07:04.818" v="1482" actId="1076"/>
          <ac:picMkLst>
            <pc:docMk/>
            <pc:sldMk cId="33954095" sldId="285"/>
            <ac:picMk id="5" creationId="{2805BC27-2A5D-C3D0-6F65-7E28C1474292}"/>
          </ac:picMkLst>
        </pc:picChg>
      </pc:sldChg>
      <pc:sldChg chg="addSp modSp new mod modTransition">
        <pc:chgData name="Koen Verbeeck" userId="24d0e79a7fd977da" providerId="LiveId" clId="{5B400C2A-FA18-41C8-9569-F9F1DF87B4FB}" dt="2023-04-23T14:59:23.171" v="2482"/>
        <pc:sldMkLst>
          <pc:docMk/>
          <pc:sldMk cId="165724879" sldId="286"/>
        </pc:sldMkLst>
        <pc:spChg chg="mod">
          <ac:chgData name="Koen Verbeeck" userId="24d0e79a7fd977da" providerId="LiveId" clId="{5B400C2A-FA18-41C8-9569-F9F1DF87B4FB}" dt="2023-04-23T14:07:36.252" v="1486" actId="20577"/>
          <ac:spMkLst>
            <pc:docMk/>
            <pc:sldMk cId="165724879" sldId="286"/>
            <ac:spMk id="2" creationId="{E792E884-9A3F-A4EF-5B3E-055A423F4FA3}"/>
          </ac:spMkLst>
        </pc:spChg>
        <pc:spChg chg="mod">
          <ac:chgData name="Koen Verbeeck" userId="24d0e79a7fd977da" providerId="LiveId" clId="{5B400C2A-FA18-41C8-9569-F9F1DF87B4FB}" dt="2023-04-23T14:08:22.077" v="1607" actId="20577"/>
          <ac:spMkLst>
            <pc:docMk/>
            <pc:sldMk cId="165724879" sldId="286"/>
            <ac:spMk id="3" creationId="{B3ED3154-B76E-4E88-8556-533A77CA050D}"/>
          </ac:spMkLst>
        </pc:spChg>
        <pc:picChg chg="add mod modCrop">
          <ac:chgData name="Koen Verbeeck" userId="24d0e79a7fd977da" providerId="LiveId" clId="{5B400C2A-FA18-41C8-9569-F9F1DF87B4FB}" dt="2023-04-23T14:08:10.229" v="1554" actId="1076"/>
          <ac:picMkLst>
            <pc:docMk/>
            <pc:sldMk cId="165724879" sldId="286"/>
            <ac:picMk id="4" creationId="{A52EC96E-97E3-83C4-E6F1-5F6F5677881F}"/>
          </ac:picMkLst>
        </pc:picChg>
        <pc:picChg chg="add mod">
          <ac:chgData name="Koen Verbeeck" userId="24d0e79a7fd977da" providerId="LiveId" clId="{5B400C2A-FA18-41C8-9569-F9F1DF87B4FB}" dt="2023-04-23T14:55:33.126" v="2460" actId="1076"/>
          <ac:picMkLst>
            <pc:docMk/>
            <pc:sldMk cId="165724879" sldId="286"/>
            <ac:picMk id="5" creationId="{58B9F8D3-9B3E-A319-4483-A913A60B230F}"/>
          </ac:picMkLst>
        </pc:picChg>
      </pc:sldChg>
      <pc:sldChg chg="add del">
        <pc:chgData name="Koen Verbeeck" userId="24d0e79a7fd977da" providerId="LiveId" clId="{5B400C2A-FA18-41C8-9569-F9F1DF87B4FB}" dt="2023-04-23T14:55:12.408" v="2455" actId="47"/>
        <pc:sldMkLst>
          <pc:docMk/>
          <pc:sldMk cId="2131902759" sldId="287"/>
        </pc:sldMkLst>
      </pc:sldChg>
      <pc:sldChg chg="addSp delSp modSp new mod modTransition modClrScheme modAnim chgLayout">
        <pc:chgData name="Koen Verbeeck" userId="24d0e79a7fd977da" providerId="LiveId" clId="{5B400C2A-FA18-41C8-9569-F9F1DF87B4FB}" dt="2023-04-29T12:12:12.650" v="3102" actId="20577"/>
        <pc:sldMkLst>
          <pc:docMk/>
          <pc:sldMk cId="2419754472" sldId="288"/>
        </pc:sldMkLst>
        <pc:spChg chg="del mod ord">
          <ac:chgData name="Koen Verbeeck" userId="24d0e79a7fd977da" providerId="LiveId" clId="{5B400C2A-FA18-41C8-9569-F9F1DF87B4FB}" dt="2023-04-23T14:09:04.227" v="1610" actId="700"/>
          <ac:spMkLst>
            <pc:docMk/>
            <pc:sldMk cId="2419754472" sldId="288"/>
            <ac:spMk id="2" creationId="{B3EA75F8-9823-6487-F1A5-05A8FFA42CE3}"/>
          </ac:spMkLst>
        </pc:spChg>
        <pc:spChg chg="add mod ord">
          <ac:chgData name="Koen Verbeeck" userId="24d0e79a7fd977da" providerId="LiveId" clId="{5B400C2A-FA18-41C8-9569-F9F1DF87B4FB}" dt="2023-04-23T14:48:24.835" v="2034" actId="20577"/>
          <ac:spMkLst>
            <pc:docMk/>
            <pc:sldMk cId="2419754472" sldId="288"/>
            <ac:spMk id="3" creationId="{35CCFAD2-636B-5E91-A571-1464AB2B2D5C}"/>
          </ac:spMkLst>
        </pc:spChg>
        <pc:spChg chg="add mod ord">
          <ac:chgData name="Koen Verbeeck" userId="24d0e79a7fd977da" providerId="LiveId" clId="{5B400C2A-FA18-41C8-9569-F9F1DF87B4FB}" dt="2023-04-23T15:03:28.976" v="2590" actId="20577"/>
          <ac:spMkLst>
            <pc:docMk/>
            <pc:sldMk cId="2419754472" sldId="288"/>
            <ac:spMk id="4" creationId="{BC0010B8-D63D-A3C0-10D6-D6A1B3C5B955}"/>
          </ac:spMkLst>
        </pc:spChg>
        <pc:spChg chg="add mod ord">
          <ac:chgData name="Koen Verbeeck" userId="24d0e79a7fd977da" providerId="LiveId" clId="{5B400C2A-FA18-41C8-9569-F9F1DF87B4FB}" dt="2023-04-29T12:12:12.650" v="3102" actId="20577"/>
          <ac:spMkLst>
            <pc:docMk/>
            <pc:sldMk cId="2419754472" sldId="288"/>
            <ac:spMk id="5" creationId="{B6FBF901-14E6-445D-1507-C19EE3ABC4C5}"/>
          </ac:spMkLst>
        </pc:spChg>
        <pc:cxnChg chg="add del">
          <ac:chgData name="Koen Verbeeck" userId="24d0e79a7fd977da" providerId="LiveId" clId="{5B400C2A-FA18-41C8-9569-F9F1DF87B4FB}" dt="2023-04-23T14:11:41.515" v="1842" actId="478"/>
          <ac:cxnSpMkLst>
            <pc:docMk/>
            <pc:sldMk cId="2419754472" sldId="288"/>
            <ac:cxnSpMk id="7" creationId="{99CD860C-942D-65D5-CBA8-6FAE18053BBD}"/>
          </ac:cxnSpMkLst>
        </pc:cxnChg>
      </pc:sldChg>
      <pc:sldChg chg="addSp modSp add mod modTransition">
        <pc:chgData name="Koen Verbeeck" userId="24d0e79a7fd977da" providerId="LiveId" clId="{5B400C2A-FA18-41C8-9569-F9F1DF87B4FB}" dt="2023-04-23T14:59:23.171" v="2482"/>
        <pc:sldMkLst>
          <pc:docMk/>
          <pc:sldMk cId="2655416582" sldId="289"/>
        </pc:sldMkLst>
        <pc:spChg chg="mod">
          <ac:chgData name="Koen Verbeeck" userId="24d0e79a7fd977da" providerId="LiveId" clId="{5B400C2A-FA18-41C8-9569-F9F1DF87B4FB}" dt="2023-04-23T14:48:11.448" v="2028" actId="20577"/>
          <ac:spMkLst>
            <pc:docMk/>
            <pc:sldMk cId="2655416582" sldId="289"/>
            <ac:spMk id="3" creationId="{6BA3599B-47E8-4ABB-8DBD-C383AC1EF56A}"/>
          </ac:spMkLst>
        </pc:spChg>
        <pc:picChg chg="add mod">
          <ac:chgData name="Koen Verbeeck" userId="24d0e79a7fd977da" providerId="LiveId" clId="{5B400C2A-FA18-41C8-9569-F9F1DF87B4FB}" dt="2023-04-23T14:47:41.239" v="1978" actId="1076"/>
          <ac:picMkLst>
            <pc:docMk/>
            <pc:sldMk cId="2655416582" sldId="289"/>
            <ac:picMk id="5" creationId="{DA1CBC43-D8D7-6F58-0AAA-F2B3930C2319}"/>
          </ac:picMkLst>
        </pc:picChg>
        <pc:picChg chg="add mod">
          <ac:chgData name="Koen Verbeeck" userId="24d0e79a7fd977da" providerId="LiveId" clId="{5B400C2A-FA18-41C8-9569-F9F1DF87B4FB}" dt="2023-04-23T14:47:43.127" v="1979" actId="1076"/>
          <ac:picMkLst>
            <pc:docMk/>
            <pc:sldMk cId="2655416582" sldId="289"/>
            <ac:picMk id="7" creationId="{3B8210FD-4305-1430-1DEB-372DB9FB0343}"/>
          </ac:picMkLst>
        </pc:picChg>
      </pc:sldChg>
      <pc:sldChg chg="modSp add mod modTransition modAnim">
        <pc:chgData name="Koen Verbeeck" userId="24d0e79a7fd977da" providerId="LiveId" clId="{5B400C2A-FA18-41C8-9569-F9F1DF87B4FB}" dt="2023-04-23T15:05:14.612" v="2647"/>
        <pc:sldMkLst>
          <pc:docMk/>
          <pc:sldMk cId="745174968" sldId="290"/>
        </pc:sldMkLst>
        <pc:spChg chg="mod">
          <ac:chgData name="Koen Verbeeck" userId="24d0e79a7fd977da" providerId="LiveId" clId="{5B400C2A-FA18-41C8-9569-F9F1DF87B4FB}" dt="2023-04-23T14:48:39.154" v="2038" actId="20577"/>
          <ac:spMkLst>
            <pc:docMk/>
            <pc:sldMk cId="745174968" sldId="290"/>
            <ac:spMk id="3" creationId="{35CCFAD2-636B-5E91-A571-1464AB2B2D5C}"/>
          </ac:spMkLst>
        </pc:spChg>
        <pc:spChg chg="mod">
          <ac:chgData name="Koen Verbeeck" userId="24d0e79a7fd977da" providerId="LiveId" clId="{5B400C2A-FA18-41C8-9569-F9F1DF87B4FB}" dt="2023-04-23T15:04:56.802" v="2641" actId="20577"/>
          <ac:spMkLst>
            <pc:docMk/>
            <pc:sldMk cId="745174968" sldId="290"/>
            <ac:spMk id="5" creationId="{B6FBF901-14E6-445D-1507-C19EE3ABC4C5}"/>
          </ac:spMkLst>
        </pc:spChg>
      </pc:sldChg>
      <pc:sldChg chg="addSp delSp modSp new mod modTransition modClrScheme chgLayout">
        <pc:chgData name="Koen Verbeeck" userId="24d0e79a7fd977da" providerId="LiveId" clId="{5B400C2A-FA18-41C8-9569-F9F1DF87B4FB}" dt="2023-04-23T14:59:23.171" v="2482"/>
        <pc:sldMkLst>
          <pc:docMk/>
          <pc:sldMk cId="3033757494" sldId="291"/>
        </pc:sldMkLst>
        <pc:spChg chg="mod ord">
          <ac:chgData name="Koen Verbeeck" userId="24d0e79a7fd977da" providerId="LiveId" clId="{5B400C2A-FA18-41C8-9569-F9F1DF87B4FB}" dt="2023-04-23T14:50:25.242" v="2153" actId="700"/>
          <ac:spMkLst>
            <pc:docMk/>
            <pc:sldMk cId="3033757494" sldId="291"/>
            <ac:spMk id="2" creationId="{78FCBEFA-B6EE-0CCE-AF17-8BDA41C0192E}"/>
          </ac:spMkLst>
        </pc:spChg>
        <pc:spChg chg="del mod ord">
          <ac:chgData name="Koen Verbeeck" userId="24d0e79a7fd977da" providerId="LiveId" clId="{5B400C2A-FA18-41C8-9569-F9F1DF87B4FB}" dt="2023-04-23T14:50:25.242" v="2153" actId="700"/>
          <ac:spMkLst>
            <pc:docMk/>
            <pc:sldMk cId="3033757494" sldId="291"/>
            <ac:spMk id="3" creationId="{B97BAE66-86B5-6CD9-DDDD-AD3698C7FFB6}"/>
          </ac:spMkLst>
        </pc:spChg>
        <pc:spChg chg="del">
          <ac:chgData name="Koen Verbeeck" userId="24d0e79a7fd977da" providerId="LiveId" clId="{5B400C2A-FA18-41C8-9569-F9F1DF87B4FB}" dt="2023-04-23T14:50:25.242" v="2153" actId="700"/>
          <ac:spMkLst>
            <pc:docMk/>
            <pc:sldMk cId="3033757494" sldId="291"/>
            <ac:spMk id="4" creationId="{4DA195A4-F612-2B90-73B3-1CA34C91C8AA}"/>
          </ac:spMkLst>
        </pc:spChg>
        <pc:spChg chg="add mod ord">
          <ac:chgData name="Koen Verbeeck" userId="24d0e79a7fd977da" providerId="LiveId" clId="{5B400C2A-FA18-41C8-9569-F9F1DF87B4FB}" dt="2023-04-23T14:51:30.460" v="2419" actId="6549"/>
          <ac:spMkLst>
            <pc:docMk/>
            <pc:sldMk cId="3033757494" sldId="291"/>
            <ac:spMk id="5" creationId="{584C1A66-D4BB-B54E-687F-FEC8FC96742F}"/>
          </ac:spMkLst>
        </pc:spChg>
        <pc:picChg chg="add mod">
          <ac:chgData name="Koen Verbeeck" userId="24d0e79a7fd977da" providerId="LiveId" clId="{5B400C2A-FA18-41C8-9569-F9F1DF87B4FB}" dt="2023-04-23T14:55:51.654" v="2465" actId="1035"/>
          <ac:picMkLst>
            <pc:docMk/>
            <pc:sldMk cId="3033757494" sldId="291"/>
            <ac:picMk id="6" creationId="{6E1D53E8-3CA2-A86D-D708-A95646F1CC39}"/>
          </ac:picMkLst>
        </pc:picChg>
      </pc:sldChg>
      <pc:sldChg chg="addSp modSp add mod modTransition">
        <pc:chgData name="Koen Verbeeck" userId="24d0e79a7fd977da" providerId="LiveId" clId="{5B400C2A-FA18-41C8-9569-F9F1DF87B4FB}" dt="2023-04-23T14:59:23.171" v="2482"/>
        <pc:sldMkLst>
          <pc:docMk/>
          <pc:sldMk cId="1894696104" sldId="304"/>
        </pc:sldMkLst>
        <pc:spChg chg="mod">
          <ac:chgData name="Koen Verbeeck" userId="24d0e79a7fd977da" providerId="LiveId" clId="{5B400C2A-FA18-41C8-9569-F9F1DF87B4FB}" dt="2023-04-23T14:52:19.762" v="2427" actId="6549"/>
          <ac:spMkLst>
            <pc:docMk/>
            <pc:sldMk cId="1894696104" sldId="304"/>
            <ac:spMk id="2" creationId="{3651ED64-D411-47B5-9475-FB1B7E974F75}"/>
          </ac:spMkLst>
        </pc:spChg>
        <pc:picChg chg="add mod">
          <ac:chgData name="Koen Verbeeck" userId="24d0e79a7fd977da" providerId="LiveId" clId="{5B400C2A-FA18-41C8-9569-F9F1DF87B4FB}" dt="2023-04-23T14:56:04.277" v="2467" actId="1076"/>
          <ac:picMkLst>
            <pc:docMk/>
            <pc:sldMk cId="1894696104" sldId="304"/>
            <ac:picMk id="3" creationId="{9F2DBC68-17CA-32D5-9A16-D60FDEAE0ADC}"/>
          </ac:picMkLst>
        </pc:picChg>
      </pc:sldChg>
      <pc:sldChg chg="modSp add del mod modTransition">
        <pc:chgData name="Koen Verbeeck" userId="24d0e79a7fd977da" providerId="LiveId" clId="{5B400C2A-FA18-41C8-9569-F9F1DF87B4FB}" dt="2023-04-23T14:59:23.171" v="2482"/>
        <pc:sldMkLst>
          <pc:docMk/>
          <pc:sldMk cId="4020471235" sldId="305"/>
        </pc:sldMkLst>
        <pc:spChg chg="mod">
          <ac:chgData name="Koen Verbeeck" userId="24d0e79a7fd977da" providerId="LiveId" clId="{5B400C2A-FA18-41C8-9569-F9F1DF87B4FB}" dt="2023-04-23T14:53:23.889" v="2434" actId="120"/>
          <ac:spMkLst>
            <pc:docMk/>
            <pc:sldMk cId="4020471235" sldId="305"/>
            <ac:spMk id="2" creationId="{FD5E8B3B-2377-23B5-78F9-0DF9438B0FFE}"/>
          </ac:spMkLst>
        </pc:spChg>
        <pc:spChg chg="mod">
          <ac:chgData name="Koen Verbeeck" userId="24d0e79a7fd977da" providerId="LiveId" clId="{5B400C2A-FA18-41C8-9569-F9F1DF87B4FB}" dt="2023-04-23T14:53:39.944" v="2438" actId="403"/>
          <ac:spMkLst>
            <pc:docMk/>
            <pc:sldMk cId="4020471235" sldId="305"/>
            <ac:spMk id="3" creationId="{DFC388A0-B349-9026-CA13-06346D88DEB9}"/>
          </ac:spMkLst>
        </pc:spChg>
      </pc:sldChg>
      <pc:sldChg chg="addSp delSp modSp add mod ord modTransition">
        <pc:chgData name="Koen Verbeeck" userId="24d0e79a7fd977da" providerId="LiveId" clId="{5B400C2A-FA18-41C8-9569-F9F1DF87B4FB}" dt="2023-04-23T14:59:23.171" v="2482"/>
        <pc:sldMkLst>
          <pc:docMk/>
          <pc:sldMk cId="2985997835" sldId="306"/>
        </pc:sldMkLst>
        <pc:picChg chg="del">
          <ac:chgData name="Koen Verbeeck" userId="24d0e79a7fd977da" providerId="LiveId" clId="{5B400C2A-FA18-41C8-9569-F9F1DF87B4FB}" dt="2023-04-23T14:55:18.276" v="2457" actId="478"/>
          <ac:picMkLst>
            <pc:docMk/>
            <pc:sldMk cId="2985997835" sldId="306"/>
            <ac:picMk id="2" creationId="{2B74547B-B533-5E5B-5554-0666DD8931EB}"/>
          </ac:picMkLst>
        </pc:picChg>
        <pc:picChg chg="add mod">
          <ac:chgData name="Koen Verbeeck" userId="24d0e79a7fd977da" providerId="LiveId" clId="{5B400C2A-FA18-41C8-9569-F9F1DF87B4FB}" dt="2023-04-23T14:55:23.622" v="2458" actId="1076"/>
          <ac:picMkLst>
            <pc:docMk/>
            <pc:sldMk cId="2985997835" sldId="306"/>
            <ac:picMk id="3" creationId="{13512434-404D-3EC9-EDE4-35FB203EEE36}"/>
          </ac:picMkLst>
        </pc:picChg>
      </pc:sldChg>
      <pc:sldChg chg="addSp delSp modSp add mod">
        <pc:chgData name="Koen Verbeeck" userId="24d0e79a7fd977da" providerId="LiveId" clId="{5B400C2A-FA18-41C8-9569-F9F1DF87B4FB}" dt="2023-05-15T07:44:19.396" v="3110" actId="20577"/>
        <pc:sldMkLst>
          <pc:docMk/>
          <pc:sldMk cId="3797372842" sldId="307"/>
        </pc:sldMkLst>
        <pc:spChg chg="mod">
          <ac:chgData name="Koen Verbeeck" userId="24d0e79a7fd977da" providerId="LiveId" clId="{5B400C2A-FA18-41C8-9569-F9F1DF87B4FB}" dt="2023-04-24T06:42:54.412" v="2740" actId="20577"/>
          <ac:spMkLst>
            <pc:docMk/>
            <pc:sldMk cId="3797372842" sldId="307"/>
            <ac:spMk id="2" creationId="{78FCBEFA-B6EE-0CCE-AF17-8BDA41C0192E}"/>
          </ac:spMkLst>
        </pc:spChg>
        <pc:spChg chg="add del">
          <ac:chgData name="Koen Verbeeck" userId="24d0e79a7fd977da" providerId="LiveId" clId="{5B400C2A-FA18-41C8-9569-F9F1DF87B4FB}" dt="2023-04-25T11:44:52.258" v="2943" actId="22"/>
          <ac:spMkLst>
            <pc:docMk/>
            <pc:sldMk cId="3797372842" sldId="307"/>
            <ac:spMk id="4" creationId="{EDF84097-98D4-D3BD-1C6C-26D3AC4ED28C}"/>
          </ac:spMkLst>
        </pc:spChg>
        <pc:spChg chg="mod">
          <ac:chgData name="Koen Verbeeck" userId="24d0e79a7fd977da" providerId="LiveId" clId="{5B400C2A-FA18-41C8-9569-F9F1DF87B4FB}" dt="2023-05-15T07:44:19.396" v="3110" actId="20577"/>
          <ac:spMkLst>
            <pc:docMk/>
            <pc:sldMk cId="3797372842" sldId="307"/>
            <ac:spMk id="5" creationId="{584C1A66-D4BB-B54E-687F-FEC8FC96742F}"/>
          </ac:spMkLst>
        </pc:spChg>
        <pc:picChg chg="del">
          <ac:chgData name="Koen Verbeeck" userId="24d0e79a7fd977da" providerId="LiveId" clId="{5B400C2A-FA18-41C8-9569-F9F1DF87B4FB}" dt="2023-04-24T06:42:48.666" v="2731" actId="478"/>
          <ac:picMkLst>
            <pc:docMk/>
            <pc:sldMk cId="3797372842" sldId="307"/>
            <ac:picMk id="6" creationId="{6E1D53E8-3CA2-A86D-D708-A95646F1CC39}"/>
          </ac:picMkLst>
        </pc:picChg>
      </pc:sldChg>
      <pc:sldChg chg="addSp delSp modSp new mod modAnim">
        <pc:chgData name="Koen Verbeeck" userId="24d0e79a7fd977da" providerId="LiveId" clId="{5B400C2A-FA18-41C8-9569-F9F1DF87B4FB}" dt="2023-04-25T11:29:45.574" v="2814" actId="1037"/>
        <pc:sldMkLst>
          <pc:docMk/>
          <pc:sldMk cId="721954252" sldId="308"/>
        </pc:sldMkLst>
        <pc:spChg chg="mod">
          <ac:chgData name="Koen Verbeeck" userId="24d0e79a7fd977da" providerId="LiveId" clId="{5B400C2A-FA18-41C8-9569-F9F1DF87B4FB}" dt="2023-04-25T11:27:17.696" v="2782" actId="20577"/>
          <ac:spMkLst>
            <pc:docMk/>
            <pc:sldMk cId="721954252" sldId="308"/>
            <ac:spMk id="2" creationId="{F19A4426-8688-908E-7238-10F4A84639C3}"/>
          </ac:spMkLst>
        </pc:spChg>
        <pc:spChg chg="del">
          <ac:chgData name="Koen Verbeeck" userId="24d0e79a7fd977da" providerId="LiveId" clId="{5B400C2A-FA18-41C8-9569-F9F1DF87B4FB}" dt="2023-04-25T11:28:00.880" v="2783" actId="478"/>
          <ac:spMkLst>
            <pc:docMk/>
            <pc:sldMk cId="721954252" sldId="308"/>
            <ac:spMk id="3" creationId="{F4E02E64-5AC1-6AF3-DCF4-702C8842B10D}"/>
          </ac:spMkLst>
        </pc:spChg>
        <pc:spChg chg="add mod">
          <ac:chgData name="Koen Verbeeck" userId="24d0e79a7fd977da" providerId="LiveId" clId="{5B400C2A-FA18-41C8-9569-F9F1DF87B4FB}" dt="2023-04-25T11:29:45.574" v="2814" actId="1037"/>
          <ac:spMkLst>
            <pc:docMk/>
            <pc:sldMk cId="721954252" sldId="308"/>
            <ac:spMk id="6" creationId="{FDD98E29-02AF-D294-ADE2-2E25EC90A950}"/>
          </ac:spMkLst>
        </pc:spChg>
        <pc:picChg chg="add mod">
          <ac:chgData name="Koen Verbeeck" userId="24d0e79a7fd977da" providerId="LiveId" clId="{5B400C2A-FA18-41C8-9569-F9F1DF87B4FB}" dt="2023-04-25T11:29:35.713" v="2796" actId="1076"/>
          <ac:picMkLst>
            <pc:docMk/>
            <pc:sldMk cId="721954252" sldId="308"/>
            <ac:picMk id="5" creationId="{79B5ECED-C9DA-FB30-70E5-45CFCAB8AE2F}"/>
          </ac:picMkLst>
        </pc:picChg>
        <pc:picChg chg="add mod">
          <ac:chgData name="Koen Verbeeck" userId="24d0e79a7fd977da" providerId="LiveId" clId="{5B400C2A-FA18-41C8-9569-F9F1DF87B4FB}" dt="2023-04-25T11:29:31.046" v="2794" actId="1076"/>
          <ac:picMkLst>
            <pc:docMk/>
            <pc:sldMk cId="721954252" sldId="308"/>
            <ac:picMk id="8" creationId="{0E7B82B4-2696-F6E9-10EE-A901DAC6D85B}"/>
          </ac:picMkLst>
        </pc:picChg>
      </pc:sldChg>
      <pc:sldChg chg="addSp delSp modSp new mod">
        <pc:chgData name="Koen Verbeeck" userId="24d0e79a7fd977da" providerId="LiveId" clId="{5B400C2A-FA18-41C8-9569-F9F1DF87B4FB}" dt="2023-04-25T11:31:47.229" v="2832" actId="1076"/>
        <pc:sldMkLst>
          <pc:docMk/>
          <pc:sldMk cId="1232057231" sldId="309"/>
        </pc:sldMkLst>
        <pc:spChg chg="mod">
          <ac:chgData name="Koen Verbeeck" userId="24d0e79a7fd977da" providerId="LiveId" clId="{5B400C2A-FA18-41C8-9569-F9F1DF87B4FB}" dt="2023-04-25T11:30:11.784" v="2826" actId="20577"/>
          <ac:spMkLst>
            <pc:docMk/>
            <pc:sldMk cId="1232057231" sldId="309"/>
            <ac:spMk id="2" creationId="{B7CF7353-9270-E0B2-20BA-C057E0C4FDEB}"/>
          </ac:spMkLst>
        </pc:spChg>
        <pc:spChg chg="del">
          <ac:chgData name="Koen Verbeeck" userId="24d0e79a7fd977da" providerId="LiveId" clId="{5B400C2A-FA18-41C8-9569-F9F1DF87B4FB}" dt="2023-04-25T11:31:36.209" v="2830" actId="22"/>
          <ac:spMkLst>
            <pc:docMk/>
            <pc:sldMk cId="1232057231" sldId="309"/>
            <ac:spMk id="3" creationId="{3AD876CC-3980-C442-46CE-5E2836559555}"/>
          </ac:spMkLst>
        </pc:spChg>
        <pc:picChg chg="add mod">
          <ac:chgData name="Koen Verbeeck" userId="24d0e79a7fd977da" providerId="LiveId" clId="{5B400C2A-FA18-41C8-9569-F9F1DF87B4FB}" dt="2023-04-25T11:31:47.229" v="2832" actId="1076"/>
          <ac:picMkLst>
            <pc:docMk/>
            <pc:sldMk cId="1232057231" sldId="309"/>
            <ac:picMk id="5" creationId="{7B5DF729-FE1A-6586-BE1A-220EF19F1C91}"/>
          </ac:picMkLst>
        </pc:picChg>
        <pc:picChg chg="add mod ord">
          <ac:chgData name="Koen Verbeeck" userId="24d0e79a7fd977da" providerId="LiveId" clId="{5B400C2A-FA18-41C8-9569-F9F1DF87B4FB}" dt="2023-04-25T11:31:39.830" v="2831" actId="1076"/>
          <ac:picMkLst>
            <pc:docMk/>
            <pc:sldMk cId="1232057231" sldId="309"/>
            <ac:picMk id="7" creationId="{E3B51B32-52E3-F379-FDCB-C8F5FEA169C0}"/>
          </ac:picMkLst>
        </pc:picChg>
      </pc:sldChg>
      <pc:sldChg chg="addSp delSp modSp add mod modAnim">
        <pc:chgData name="Koen Verbeeck" userId="24d0e79a7fd977da" providerId="LiveId" clId="{5B400C2A-FA18-41C8-9569-F9F1DF87B4FB}" dt="2023-04-25T11:33:37.760" v="2855" actId="14100"/>
        <pc:sldMkLst>
          <pc:docMk/>
          <pc:sldMk cId="2793953174" sldId="310"/>
        </pc:sldMkLst>
        <pc:spChg chg="mod">
          <ac:chgData name="Koen Verbeeck" userId="24d0e79a7fd977da" providerId="LiveId" clId="{5B400C2A-FA18-41C8-9569-F9F1DF87B4FB}" dt="2023-04-25T11:32:11.832" v="2842" actId="20577"/>
          <ac:spMkLst>
            <pc:docMk/>
            <pc:sldMk cId="2793953174" sldId="310"/>
            <ac:spMk id="2" creationId="{B7CF7353-9270-E0B2-20BA-C057E0C4FDEB}"/>
          </ac:spMkLst>
        </pc:spChg>
        <pc:spChg chg="add del mod">
          <ac:chgData name="Koen Verbeeck" userId="24d0e79a7fd977da" providerId="LiveId" clId="{5B400C2A-FA18-41C8-9569-F9F1DF87B4FB}" dt="2023-04-25T11:32:59.999" v="2848" actId="478"/>
          <ac:spMkLst>
            <pc:docMk/>
            <pc:sldMk cId="2793953174" sldId="310"/>
            <ac:spMk id="4" creationId="{59C34446-E854-8736-070E-39E2D8BA3A29}"/>
          </ac:spMkLst>
        </pc:spChg>
        <pc:spChg chg="add mod">
          <ac:chgData name="Koen Verbeeck" userId="24d0e79a7fd977da" providerId="LiveId" clId="{5B400C2A-FA18-41C8-9569-F9F1DF87B4FB}" dt="2023-04-25T11:33:26.038" v="2852" actId="1076"/>
          <ac:spMkLst>
            <pc:docMk/>
            <pc:sldMk cId="2793953174" sldId="310"/>
            <ac:spMk id="9" creationId="{8BFB51F7-8307-C161-1F4B-1B731ACBFC57}"/>
          </ac:spMkLst>
        </pc:spChg>
        <pc:spChg chg="add mod">
          <ac:chgData name="Koen Verbeeck" userId="24d0e79a7fd977da" providerId="LiveId" clId="{5B400C2A-FA18-41C8-9569-F9F1DF87B4FB}" dt="2023-04-25T11:33:37.760" v="2855" actId="14100"/>
          <ac:spMkLst>
            <pc:docMk/>
            <pc:sldMk cId="2793953174" sldId="310"/>
            <ac:spMk id="10" creationId="{A697D04A-B26E-33E7-545F-671B4C659B26}"/>
          </ac:spMkLst>
        </pc:spChg>
        <pc:picChg chg="del">
          <ac:chgData name="Koen Verbeeck" userId="24d0e79a7fd977da" providerId="LiveId" clId="{5B400C2A-FA18-41C8-9569-F9F1DF87B4FB}" dt="2023-04-25T11:32:13.743" v="2843" actId="478"/>
          <ac:picMkLst>
            <pc:docMk/>
            <pc:sldMk cId="2793953174" sldId="310"/>
            <ac:picMk id="5" creationId="{7B5DF729-FE1A-6586-BE1A-220EF19F1C91}"/>
          </ac:picMkLst>
        </pc:picChg>
        <pc:picChg chg="del">
          <ac:chgData name="Koen Verbeeck" userId="24d0e79a7fd977da" providerId="LiveId" clId="{5B400C2A-FA18-41C8-9569-F9F1DF87B4FB}" dt="2023-04-25T11:32:14.292" v="2844" actId="478"/>
          <ac:picMkLst>
            <pc:docMk/>
            <pc:sldMk cId="2793953174" sldId="310"/>
            <ac:picMk id="7" creationId="{E3B51B32-52E3-F379-FDCB-C8F5FEA169C0}"/>
          </ac:picMkLst>
        </pc:picChg>
        <pc:picChg chg="add mod">
          <ac:chgData name="Koen Verbeeck" userId="24d0e79a7fd977da" providerId="LiveId" clId="{5B400C2A-FA18-41C8-9569-F9F1DF87B4FB}" dt="2023-04-25T11:33:04.135" v="2850" actId="14100"/>
          <ac:picMkLst>
            <pc:docMk/>
            <pc:sldMk cId="2793953174" sldId="310"/>
            <ac:picMk id="8" creationId="{6710BBF0-9FAA-6DFD-8410-D9B75329C33D}"/>
          </ac:picMkLst>
        </pc:picChg>
      </pc:sldChg>
      <pc:sldChg chg="addSp delSp modSp new mod delAnim modAnim">
        <pc:chgData name="Koen Verbeeck" userId="24d0e79a7fd977da" providerId="LiveId" clId="{5B400C2A-FA18-41C8-9569-F9F1DF87B4FB}" dt="2023-04-25T11:37:35.618" v="2905" actId="1076"/>
        <pc:sldMkLst>
          <pc:docMk/>
          <pc:sldMk cId="3706260125" sldId="311"/>
        </pc:sldMkLst>
        <pc:spChg chg="mod">
          <ac:chgData name="Koen Verbeeck" userId="24d0e79a7fd977da" providerId="LiveId" clId="{5B400C2A-FA18-41C8-9569-F9F1DF87B4FB}" dt="2023-04-25T11:34:06.986" v="2877" actId="5793"/>
          <ac:spMkLst>
            <pc:docMk/>
            <pc:sldMk cId="3706260125" sldId="311"/>
            <ac:spMk id="2" creationId="{24C7645D-FAB7-C5EF-87BE-EBD8A8257378}"/>
          </ac:spMkLst>
        </pc:spChg>
        <pc:spChg chg="del">
          <ac:chgData name="Koen Verbeeck" userId="24d0e79a7fd977da" providerId="LiveId" clId="{5B400C2A-FA18-41C8-9569-F9F1DF87B4FB}" dt="2023-04-25T11:36:02.047" v="2892" actId="478"/>
          <ac:spMkLst>
            <pc:docMk/>
            <pc:sldMk cId="3706260125" sldId="311"/>
            <ac:spMk id="3" creationId="{32A43281-9C8E-5B74-078E-7761C693A94F}"/>
          </ac:spMkLst>
        </pc:spChg>
        <pc:spChg chg="add del mod">
          <ac:chgData name="Koen Verbeeck" userId="24d0e79a7fd977da" providerId="LiveId" clId="{5B400C2A-FA18-41C8-9569-F9F1DF87B4FB}" dt="2023-04-25T11:37:29.989" v="2902" actId="478"/>
          <ac:spMkLst>
            <pc:docMk/>
            <pc:sldMk cId="3706260125" sldId="311"/>
            <ac:spMk id="8" creationId="{AA8061D6-0EE8-0784-4809-BD435D4BEFA9}"/>
          </ac:spMkLst>
        </pc:spChg>
        <pc:spChg chg="add del mod">
          <ac:chgData name="Koen Verbeeck" userId="24d0e79a7fd977da" providerId="LiveId" clId="{5B400C2A-FA18-41C8-9569-F9F1DF87B4FB}" dt="2023-04-25T11:37:29.989" v="2902" actId="478"/>
          <ac:spMkLst>
            <pc:docMk/>
            <pc:sldMk cId="3706260125" sldId="311"/>
            <ac:spMk id="9" creationId="{24A051FF-06EC-D52B-9C54-E479A7001B51}"/>
          </ac:spMkLst>
        </pc:spChg>
        <pc:picChg chg="add del mod">
          <ac:chgData name="Koen Verbeeck" userId="24d0e79a7fd977da" providerId="LiveId" clId="{5B400C2A-FA18-41C8-9569-F9F1DF87B4FB}" dt="2023-04-25T11:37:28.095" v="2901" actId="478"/>
          <ac:picMkLst>
            <pc:docMk/>
            <pc:sldMk cId="3706260125" sldId="311"/>
            <ac:picMk id="5" creationId="{3B28EC99-DD31-CA0D-2788-5A6B9158DF10}"/>
          </ac:picMkLst>
        </pc:picChg>
        <pc:picChg chg="add del mod">
          <ac:chgData name="Koen Verbeeck" userId="24d0e79a7fd977da" providerId="LiveId" clId="{5B400C2A-FA18-41C8-9569-F9F1DF87B4FB}" dt="2023-04-25T11:37:29.989" v="2902" actId="478"/>
          <ac:picMkLst>
            <pc:docMk/>
            <pc:sldMk cId="3706260125" sldId="311"/>
            <ac:picMk id="7" creationId="{3BF6BD02-2FA3-FEC7-179E-1722EE0BBABF}"/>
          </ac:picMkLst>
        </pc:picChg>
        <pc:picChg chg="add mod">
          <ac:chgData name="Koen Verbeeck" userId="24d0e79a7fd977da" providerId="LiveId" clId="{5B400C2A-FA18-41C8-9569-F9F1DF87B4FB}" dt="2023-04-25T11:37:35.618" v="2905" actId="1076"/>
          <ac:picMkLst>
            <pc:docMk/>
            <pc:sldMk cId="3706260125" sldId="311"/>
            <ac:picMk id="11" creationId="{9645466B-B528-872C-9F41-49BC56537C35}"/>
          </ac:picMkLst>
        </pc:picChg>
      </pc:sldChg>
      <pc:sldChg chg="delSp modSp add mod">
        <pc:chgData name="Koen Verbeeck" userId="24d0e79a7fd977da" providerId="LiveId" clId="{5B400C2A-FA18-41C8-9569-F9F1DF87B4FB}" dt="2023-04-25T11:38:01.840" v="2941" actId="20577"/>
        <pc:sldMkLst>
          <pc:docMk/>
          <pc:sldMk cId="4093170046" sldId="312"/>
        </pc:sldMkLst>
        <pc:spChg chg="mod">
          <ac:chgData name="Koen Verbeeck" userId="24d0e79a7fd977da" providerId="LiveId" clId="{5B400C2A-FA18-41C8-9569-F9F1DF87B4FB}" dt="2023-04-25T11:38:01.840" v="2941" actId="20577"/>
          <ac:spMkLst>
            <pc:docMk/>
            <pc:sldMk cId="4093170046" sldId="312"/>
            <ac:spMk id="2" creationId="{24C7645D-FAB7-C5EF-87BE-EBD8A8257378}"/>
          </ac:spMkLst>
        </pc:spChg>
        <pc:picChg chg="mod">
          <ac:chgData name="Koen Verbeeck" userId="24d0e79a7fd977da" providerId="LiveId" clId="{5B400C2A-FA18-41C8-9569-F9F1DF87B4FB}" dt="2023-04-25T11:37:42.207" v="2907" actId="1076"/>
          <ac:picMkLst>
            <pc:docMk/>
            <pc:sldMk cId="4093170046" sldId="312"/>
            <ac:picMk id="5" creationId="{3B28EC99-DD31-CA0D-2788-5A6B9158DF10}"/>
          </ac:picMkLst>
        </pc:picChg>
        <pc:picChg chg="del">
          <ac:chgData name="Koen Verbeeck" userId="24d0e79a7fd977da" providerId="LiveId" clId="{5B400C2A-FA18-41C8-9569-F9F1DF87B4FB}" dt="2023-04-25T11:37:38.798" v="2906" actId="478"/>
          <ac:picMkLst>
            <pc:docMk/>
            <pc:sldMk cId="4093170046" sldId="312"/>
            <ac:picMk id="11" creationId="{9645466B-B528-872C-9F41-49BC56537C35}"/>
          </ac:picMkLst>
        </pc:picChg>
      </pc:sldChg>
      <pc:sldChg chg="addSp modSp new mod">
        <pc:chgData name="Koen Verbeeck" userId="24d0e79a7fd977da" providerId="LiveId" clId="{5B400C2A-FA18-41C8-9569-F9F1DF87B4FB}" dt="2023-05-16T07:33:54.785" v="3130" actId="1076"/>
        <pc:sldMkLst>
          <pc:docMk/>
          <pc:sldMk cId="79013575" sldId="313"/>
        </pc:sldMkLst>
        <pc:spChg chg="mod">
          <ac:chgData name="Koen Verbeeck" userId="24d0e79a7fd977da" providerId="LiveId" clId="{5B400C2A-FA18-41C8-9569-F9F1DF87B4FB}" dt="2023-05-16T07:27:29.239" v="3128" actId="20577"/>
          <ac:spMkLst>
            <pc:docMk/>
            <pc:sldMk cId="79013575" sldId="313"/>
            <ac:spMk id="2" creationId="{162BA5C4-7CC9-5862-6AD2-66D0DF241E7A}"/>
          </ac:spMkLst>
        </pc:spChg>
        <pc:picChg chg="add mod">
          <ac:chgData name="Koen Verbeeck" userId="24d0e79a7fd977da" providerId="LiveId" clId="{5B400C2A-FA18-41C8-9569-F9F1DF87B4FB}" dt="2023-05-16T07:33:54.785" v="3130" actId="1076"/>
          <ac:picMkLst>
            <pc:docMk/>
            <pc:sldMk cId="79013575" sldId="313"/>
            <ac:picMk id="1026" creationId="{C48D5500-5477-BEA2-1301-89C9F6AEA222}"/>
          </ac:picMkLst>
        </pc:picChg>
      </pc:sldChg>
      <pc:sldMasterChg chg="delSp modSp mod">
        <pc:chgData name="Koen Verbeeck" userId="24d0e79a7fd977da" providerId="LiveId" clId="{5B400C2A-FA18-41C8-9569-F9F1DF87B4FB}" dt="2023-04-01T16:33:01.697" v="622" actId="478"/>
        <pc:sldMasterMkLst>
          <pc:docMk/>
          <pc:sldMasterMk cId="456608259" sldId="2147483660"/>
        </pc:sldMasterMkLst>
        <pc:spChg chg="del mod">
          <ac:chgData name="Koen Verbeeck" userId="24d0e79a7fd977da" providerId="LiveId" clId="{5B400C2A-FA18-41C8-9569-F9F1DF87B4FB}" dt="2023-04-01T16:33:01.697" v="622" actId="478"/>
          <ac:spMkLst>
            <pc:docMk/>
            <pc:sldMasterMk cId="456608259" sldId="2147483660"/>
            <ac:spMk id="124" creationId="{F7DE521A-FD28-4674-8870-99C9719D9BA8}"/>
          </ac:spMkLst>
        </pc:spChg>
        <pc:spChg chg="del">
          <ac:chgData name="Koen Verbeeck" userId="24d0e79a7fd977da" providerId="LiveId" clId="{5B400C2A-FA18-41C8-9569-F9F1DF87B4FB}" dt="2023-04-01T16:32:59.259" v="620" actId="478"/>
          <ac:spMkLst>
            <pc:docMk/>
            <pc:sldMasterMk cId="456608259" sldId="2147483660"/>
            <ac:spMk id="126" creationId="{17A1C232-30B9-4B07-8AB1-FC3713EAA6F3}"/>
          </ac:spMkLst>
        </pc:spChg>
        <pc:spChg chg="del">
          <ac:chgData name="Koen Verbeeck" userId="24d0e79a7fd977da" providerId="LiveId" clId="{5B400C2A-FA18-41C8-9569-F9F1DF87B4FB}" dt="2023-04-01T16:32:59.259" v="620" actId="478"/>
          <ac:spMkLst>
            <pc:docMk/>
            <pc:sldMasterMk cId="456608259" sldId="2147483660"/>
            <ac:spMk id="127" creationId="{595DBF75-C33F-4774-8827-9E0A498545CE}"/>
          </ac:spMkLst>
        </pc:spChg>
        <pc:spChg chg="del">
          <ac:chgData name="Koen Verbeeck" userId="24d0e79a7fd977da" providerId="LiveId" clId="{5B400C2A-FA18-41C8-9569-F9F1DF87B4FB}" dt="2023-04-01T16:32:59.259" v="620" actId="478"/>
          <ac:spMkLst>
            <pc:docMk/>
            <pc:sldMasterMk cId="456608259" sldId="2147483660"/>
            <ac:spMk id="129" creationId="{BD41E6CE-F692-4727-823E-4195EF1427C4}"/>
          </ac:spMkLst>
        </pc:spChg>
        <pc:grpChg chg="del">
          <ac:chgData name="Koen Verbeeck" userId="24d0e79a7fd977da" providerId="LiveId" clId="{5B400C2A-FA18-41C8-9569-F9F1DF87B4FB}" dt="2023-04-01T12:13:01.504" v="109" actId="478"/>
          <ac:grpSpMkLst>
            <pc:docMk/>
            <pc:sldMasterMk cId="456608259" sldId="2147483660"/>
            <ac:grpSpMk id="30" creationId="{D23DDBD4-3D8C-4FE1-87B8-408D0EC0A5D0}"/>
          </ac:grpSpMkLst>
        </pc:grpChg>
        <pc:cxnChg chg="del">
          <ac:chgData name="Koen Verbeeck" userId="24d0e79a7fd977da" providerId="LiveId" clId="{5B400C2A-FA18-41C8-9569-F9F1DF87B4FB}" dt="2023-04-01T16:32:59.259" v="620" actId="478"/>
          <ac:cxnSpMkLst>
            <pc:docMk/>
            <pc:sldMasterMk cId="456608259" sldId="2147483660"/>
            <ac:cxnSpMk id="125" creationId="{1606B710-69A2-4620-9154-26E4E739F958}"/>
          </ac:cxnSpMkLst>
        </pc:cxnChg>
        <pc:cxnChg chg="del">
          <ac:chgData name="Koen Verbeeck" userId="24d0e79a7fd977da" providerId="LiveId" clId="{5B400C2A-FA18-41C8-9569-F9F1DF87B4FB}" dt="2023-04-01T16:32:59.259" v="620" actId="478"/>
          <ac:cxnSpMkLst>
            <pc:docMk/>
            <pc:sldMasterMk cId="456608259" sldId="2147483660"/>
            <ac:cxnSpMk id="128" creationId="{D74EB6B8-DB92-4985-BEEC-A404250CE3BD}"/>
          </ac:cxnSpMkLst>
        </pc:cxn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78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798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883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8818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850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229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441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6244372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2184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30578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76874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802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204120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0034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38313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47601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22592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59509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147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4047634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46645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5501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449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19877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31997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36951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18160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2801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34189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1457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05837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76387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40386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668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F727919-C765-8773-822A-47A011476A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36" y="3509962"/>
            <a:ext cx="2474964" cy="36528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370171-E795-6A4C-378E-DB8E405E9C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550" y="-60960"/>
            <a:ext cx="8258939" cy="6985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C852C3D-5442-9339-50B5-57D94AF5E6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0892" y="853123"/>
            <a:ext cx="7152028" cy="2387600"/>
          </a:xfrm>
        </p:spPr>
        <p:txBody>
          <a:bodyPr anchor="b"/>
          <a:lstStyle>
            <a:lvl1pPr algn="ctr">
              <a:defRPr sz="6000">
                <a:solidFill>
                  <a:srgbClr val="65B34B"/>
                </a:solidFill>
                <a:latin typeface="Possum Saltare NF" panose="020A06030303010201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43D813-C9E7-0253-B9AB-1758049482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0892" y="3332798"/>
            <a:ext cx="7152028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1353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3DC51-BC50-5AB0-03DB-FC1F2EBE4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408194-22DB-2E7F-77D6-D8DC91DD95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93845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18504-353E-9C83-BAAD-30CEFCD75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C4FD1-2806-FC59-5E3A-61E031ECA7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27514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31080-2F46-5778-74C3-6FA333736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E4F94-DD48-8D66-9123-44DE0A49B2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18BA22-C276-416D-8477-E61FB0B9ED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64696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D695F-B0D5-D7E2-A5E1-EE8CA1C00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B61E04-B955-045C-CD6C-2FD1CCCA0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6A4B8F-FB3A-7EEA-2462-CFE690CA0E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A25000-80C5-53C8-0AB4-0721A3A820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09C5F8B-BF3B-4FCB-E245-A856B2936F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16374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1C6BC-9E2B-DDC0-16AA-DEFB00ED2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19112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7643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927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734911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9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263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95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2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9814A-DC2E-4DE3-B084-674AF135E90E}" type="slidenum">
              <a:rPr lang="nl-BE" smtClean="0"/>
              <a:t>‹#›</a:t>
            </a:fld>
            <a:endParaRPr lang="nl-BE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608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5AF36B0-8614-C949-A0DA-EC52B91284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4274"/>
          <a:stretch/>
        </p:blipFill>
        <p:spPr>
          <a:xfrm>
            <a:off x="-64008" y="-54864"/>
            <a:ext cx="12323064" cy="697382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D9C7FD-1C53-13F4-D0EF-52D46E651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829009-BF90-2012-83AD-40C7DEDD80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558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gif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5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cosmos-db/synapse-link" TargetMode="Externa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jp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3.jpeg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azure-synapse-analytics-blog/optimize-database-schema-in-serverless-sql-pools-using-qpi/ba-p/3252140" TargetMode="External"/><Relationship Id="rId2" Type="http://schemas.openxmlformats.org/officeDocument/2006/relationships/hyperlink" Target="https://techcommunity.microsoft.com/t5/azure-synapse-analytics-blog/best-practices-for-integrating-serverless-sql-pool-with-cosmos/ba-p/3257975" TargetMode="Externa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hyperlink" Target="https://techcommunity.microsoft.com/t5/azure-data-factory-blog/capture-changed-data-from-your-cosmos-db-analytical-store/ba-p/3783530" TargetMode="External"/><Relationship Id="rId3" Type="http://schemas.openxmlformats.org/officeDocument/2006/relationships/hyperlink" Target="https://www.mssqltips.com/sqlservertip/7656/azure-cosmos-db-cosmicworks-sample-database-installation/?utm_source=KoenVerbeeck" TargetMode="External"/><Relationship Id="rId7" Type="http://schemas.openxmlformats.org/officeDocument/2006/relationships/hyperlink" Target="https://cosmosdownunder.com/podcast/" TargetMode="External"/><Relationship Id="rId2" Type="http://schemas.openxmlformats.org/officeDocument/2006/relationships/hyperlink" Target="https://learn.microsoft.com/en-us/certifications/exams/dp-420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youtube.com/watch?v=4Yq8SuXuocU" TargetMode="External"/><Relationship Id="rId5" Type="http://schemas.openxmlformats.org/officeDocument/2006/relationships/hyperlink" Target="https://www.mssqltips.com/sqlservertip/7509/azure-synapse-link-query-azure-cosmos-db-data-with-synapse-serverless/" TargetMode="External"/><Relationship Id="rId4" Type="http://schemas.openxmlformats.org/officeDocument/2006/relationships/hyperlink" Target="https://learn.microsoft.com/en-us/azure/cosmos-db/analytical-store-introduction" TargetMode="Externa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E8B3B-2377-23B5-78F9-0DF9438B0F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dirty="0"/>
              <a:t>Analyzing Azure Cosmos DB D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C388A0-B349-9026-CA13-06346D88DEB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800" dirty="0"/>
              <a:t>With Azure Synapse Link (&amp; others)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4020471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4F2C4-3249-7082-8B75-D4A3C6343D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tion ke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FC1565-2F85-FCA7-1761-D3D5BD884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686" y="1689421"/>
            <a:ext cx="6495994" cy="25932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C10B76-C33C-228A-908A-39CD87D8C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3708" y="3429000"/>
            <a:ext cx="7438292" cy="3429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89ACB2-2D15-4287-E5E7-9FF20BE26280}"/>
              </a:ext>
            </a:extLst>
          </p:cNvPr>
          <p:cNvSpPr txBox="1"/>
          <p:nvPr/>
        </p:nvSpPr>
        <p:spPr>
          <a:xfrm>
            <a:off x="2187616" y="1813"/>
            <a:ext cx="10004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implement-non-relational-data-model/6-choose-partition-key</a:t>
            </a:r>
          </a:p>
        </p:txBody>
      </p:sp>
    </p:spTree>
    <p:extLst>
      <p:ext uri="{BB962C8B-B14F-4D97-AF65-F5344CB8AC3E}">
        <p14:creationId xmlns:p14="http://schemas.microsoft.com/office/powerpoint/2010/main" val="125886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23682C-D420-2317-7DE3-1CEF04A80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in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8FBD8C-013F-8DC6-CDD0-9E136908B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79263"/>
            <a:ext cx="12192000" cy="53787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E744B6C-69DE-D498-1700-53E86E2A48DF}"/>
              </a:ext>
            </a:extLst>
          </p:cNvPr>
          <p:cNvSpPr txBox="1"/>
          <p:nvPr/>
        </p:nvSpPr>
        <p:spPr>
          <a:xfrm>
            <a:off x="2141316" y="1813"/>
            <a:ext cx="10050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define-indexes-azure-cosmos-db-sql-api/2-understand-indexes</a:t>
            </a:r>
          </a:p>
        </p:txBody>
      </p:sp>
    </p:spTree>
    <p:extLst>
      <p:ext uri="{BB962C8B-B14F-4D97-AF65-F5344CB8AC3E}">
        <p14:creationId xmlns:p14="http://schemas.microsoft.com/office/powerpoint/2010/main" val="249100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848AB-5A7D-015F-3D18-33360729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ing polic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50E658-FB36-3A4B-1C22-B9E7634F11D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27" b="-1"/>
          <a:stretch/>
        </p:blipFill>
        <p:spPr>
          <a:xfrm>
            <a:off x="1018515" y="1932972"/>
            <a:ext cx="4064934" cy="35881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550A90E-F92A-D350-AFCA-530B565194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5341" y="1932972"/>
            <a:ext cx="4064934" cy="4335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60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BA5C4-7CC9-5862-6AD2-66D0DF241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feed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ECA21E-9FB7-5219-0E27-6EF98ADCDE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1026" name="Picture 2" descr="Serverless event-based Functions working with the Azure Functions trigger for Azure Cosmos DB">
            <a:extLst>
              <a:ext uri="{FF2B5EF4-FFF2-40B4-BE49-F238E27FC236}">
                <a16:creationId xmlns:a16="http://schemas.microsoft.com/office/drawing/2014/main" id="{C48D5500-5477-BEA2-1301-89C9F6AEA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132" y="1457011"/>
            <a:ext cx="8886825" cy="500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0135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7E0BF6-0D7E-EF2F-5D58-C3A548970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cin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3E3109-E186-2285-FFE2-6E1EA8617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20" y="1542887"/>
            <a:ext cx="9543187" cy="456854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DD342F9-A2D9-9AF1-548E-E5B8523062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0500" y="0"/>
            <a:ext cx="4381500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216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5D721-C059-5BC2-09E3-906DBD777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se case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B053FE2-AD4D-C0F4-C6C9-42C14649B9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5117" y="1325674"/>
            <a:ext cx="1598971" cy="1465723"/>
          </a:xfrm>
          <a:prstGeom prst="rect">
            <a:avLst/>
          </a:prstGeom>
        </p:spPr>
      </p:pic>
      <p:pic>
        <p:nvPicPr>
          <p:cNvPr id="1026" name="Picture 2" descr="Container free icon">
            <a:extLst>
              <a:ext uri="{FF2B5EF4-FFF2-40B4-BE49-F238E27FC236}">
                <a16:creationId xmlns:a16="http://schemas.microsoft.com/office/drawing/2014/main" id="{49E3E291-8116-6FCC-19DC-D608E4186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2566007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ontainer free icon">
            <a:extLst>
              <a:ext uri="{FF2B5EF4-FFF2-40B4-BE49-F238E27FC236}">
                <a16:creationId xmlns:a16="http://schemas.microsoft.com/office/drawing/2014/main" id="{85A3D76E-3D7D-194B-66C6-6B0707B54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3622974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ontainer free icon">
            <a:extLst>
              <a:ext uri="{FF2B5EF4-FFF2-40B4-BE49-F238E27FC236}">
                <a16:creationId xmlns:a16="http://schemas.microsoft.com/office/drawing/2014/main" id="{E7C305B7-9C2B-70A4-70FD-CF36611D1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4679941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81E438-D1FF-9C46-4B44-F28DA18EAA03}"/>
              </a:ext>
            </a:extLst>
          </p:cNvPr>
          <p:cNvSpPr txBox="1"/>
          <p:nvPr/>
        </p:nvSpPr>
        <p:spPr>
          <a:xfrm>
            <a:off x="3947585" y="3438308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A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A09CBD-F3EA-8861-751D-E6E2286DB576}"/>
              </a:ext>
            </a:extLst>
          </p:cNvPr>
          <p:cNvSpPr txBox="1"/>
          <p:nvPr/>
        </p:nvSpPr>
        <p:spPr>
          <a:xfrm>
            <a:off x="3947585" y="4495275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B</a:t>
            </a:r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43110-F8BF-9244-1EFC-D63540EE0FC1}"/>
              </a:ext>
            </a:extLst>
          </p:cNvPr>
          <p:cNvSpPr txBox="1"/>
          <p:nvPr/>
        </p:nvSpPr>
        <p:spPr>
          <a:xfrm>
            <a:off x="3947585" y="5552242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C</a:t>
            </a:r>
            <a:endParaRPr lang="nl-BE" dirty="0"/>
          </a:p>
        </p:txBody>
      </p:sp>
      <p:pic>
        <p:nvPicPr>
          <p:cNvPr id="1028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22246D64-56FA-6463-C9A2-A75612F3A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3492205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8EA490C1-C2A3-7458-1101-E6898B6D5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420134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0645F610-FE3C-E3F7-DB18-4360E1B41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4930202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170EEFF4-F030-3D35-F075-B7FF6C302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565905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CB7373-81AF-1225-1741-6FFDDEA5F59C}"/>
              </a:ext>
            </a:extLst>
          </p:cNvPr>
          <p:cNvCxnSpPr>
            <a:stCxn id="1028" idx="3"/>
            <a:endCxn id="1026" idx="1"/>
          </p:cNvCxnSpPr>
          <p:nvPr/>
        </p:nvCxnSpPr>
        <p:spPr>
          <a:xfrm flipV="1">
            <a:off x="1433328" y="3136278"/>
            <a:ext cx="2514257" cy="71426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9688FEC-A0BE-BB17-E5FB-C3597E502BB0}"/>
              </a:ext>
            </a:extLst>
          </p:cNvPr>
          <p:cNvCxnSpPr>
            <a:cxnSpLocks/>
            <a:stCxn id="10" idx="3"/>
            <a:endCxn id="5" idx="1"/>
          </p:cNvCxnSpPr>
          <p:nvPr/>
        </p:nvCxnSpPr>
        <p:spPr>
          <a:xfrm flipV="1">
            <a:off x="1791661" y="4193245"/>
            <a:ext cx="2155924" cy="366435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CC0F771-FA89-8459-C5D2-D1AD19389377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 flipV="1">
            <a:off x="1433328" y="5250212"/>
            <a:ext cx="2514257" cy="38323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C53C5860-7A00-92D0-3971-0EAABB00D7AC}"/>
              </a:ext>
            </a:extLst>
          </p:cNvPr>
          <p:cNvCxnSpPr>
            <a:cxnSpLocks/>
            <a:stCxn id="12" idx="3"/>
            <a:endCxn id="6" idx="1"/>
          </p:cNvCxnSpPr>
          <p:nvPr/>
        </p:nvCxnSpPr>
        <p:spPr>
          <a:xfrm flipV="1">
            <a:off x="1791661" y="5250212"/>
            <a:ext cx="2155924" cy="767178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AC2FD7E9-1B3D-553E-368E-4EE99405E447}"/>
              </a:ext>
            </a:extLst>
          </p:cNvPr>
          <p:cNvCxnSpPr>
            <a:cxnSpLocks/>
          </p:cNvCxnSpPr>
          <p:nvPr/>
        </p:nvCxnSpPr>
        <p:spPr>
          <a:xfrm flipV="1">
            <a:off x="5825172" y="3655445"/>
            <a:ext cx="1255308" cy="70104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B107867-74E5-F839-26FF-3E6F276A2F40}"/>
              </a:ext>
            </a:extLst>
          </p:cNvPr>
          <p:cNvSpPr txBox="1"/>
          <p:nvPr/>
        </p:nvSpPr>
        <p:spPr>
          <a:xfrm>
            <a:off x="4517856" y="6091829"/>
            <a:ext cx="76778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how are we going to query this data?</a:t>
            </a:r>
            <a:endParaRPr lang="nl-BE" sz="3200" dirty="0">
              <a:solidFill>
                <a:schemeClr val="accent1"/>
              </a:solidFill>
            </a:endParaRPr>
          </a:p>
        </p:txBody>
      </p:sp>
      <p:pic>
        <p:nvPicPr>
          <p:cNvPr id="17" name="Picture 16" descr="Question Cat">
            <a:extLst>
              <a:ext uri="{FF2B5EF4-FFF2-40B4-BE49-F238E27FC236}">
                <a16:creationId xmlns:a16="http://schemas.microsoft.com/office/drawing/2014/main" id="{33EDAC58-D264-EE6A-12AA-60E5C4BF53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4051" y="904999"/>
            <a:ext cx="4376449" cy="4376449"/>
          </a:xfrm>
          <a:prstGeom prst="rect">
            <a:avLst/>
          </a:prstGeom>
        </p:spPr>
      </p:pic>
      <p:sp>
        <p:nvSpPr>
          <p:cNvPr id="19" name="Right Brace 18">
            <a:extLst>
              <a:ext uri="{FF2B5EF4-FFF2-40B4-BE49-F238E27FC236}">
                <a16:creationId xmlns:a16="http://schemas.microsoft.com/office/drawing/2014/main" id="{6362849F-5EE9-A8FF-EFDA-E6914D7290A6}"/>
              </a:ext>
            </a:extLst>
          </p:cNvPr>
          <p:cNvSpPr/>
          <p:nvPr/>
        </p:nvSpPr>
        <p:spPr>
          <a:xfrm>
            <a:off x="5469999" y="2976063"/>
            <a:ext cx="244249" cy="2760845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795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26FA157-D1AA-6472-48AC-65754CF98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al store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F45ED6-44C8-2F7C-14A6-D26B6D674C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9205" y="1667054"/>
            <a:ext cx="9693590" cy="40629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DDF6E42-A93F-A823-4616-FCF2F4AFD030}"/>
              </a:ext>
            </a:extLst>
          </p:cNvPr>
          <p:cNvSpPr txBox="1"/>
          <p:nvPr/>
        </p:nvSpPr>
        <p:spPr>
          <a:xfrm>
            <a:off x="1249205" y="6375723"/>
            <a:ext cx="79947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: </a:t>
            </a:r>
            <a:r>
              <a:rPr lang="en-US" dirty="0">
                <a:hlinkClick r:id="rId3"/>
              </a:rPr>
              <a:t>What is Azure Synapse Link for Azure Cosmos DB?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8034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9F281-597E-B047-BD4D-2AFE32AA0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able analytical store</a:t>
            </a:r>
            <a:endParaRPr lang="nl-BE" dirty="0"/>
          </a:p>
        </p:txBody>
      </p:sp>
      <p:pic>
        <p:nvPicPr>
          <p:cNvPr id="4" name="Picture 3" descr="create new container, with analytical store not yet enabled">
            <a:extLst>
              <a:ext uri="{FF2B5EF4-FFF2-40B4-BE49-F238E27FC236}">
                <a16:creationId xmlns:a16="http://schemas.microsoft.com/office/drawing/2014/main" id="{E4A98A60-DEE6-144B-7954-36D7431B07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474" y="1410150"/>
            <a:ext cx="2971800" cy="4892040"/>
          </a:xfrm>
          <a:prstGeom prst="rect">
            <a:avLst/>
          </a:prstGeom>
        </p:spPr>
      </p:pic>
      <p:pic>
        <p:nvPicPr>
          <p:cNvPr id="5" name="Picture 4" descr="enable analytical store from data explorer">
            <a:extLst>
              <a:ext uri="{FF2B5EF4-FFF2-40B4-BE49-F238E27FC236}">
                <a16:creationId xmlns:a16="http://schemas.microsoft.com/office/drawing/2014/main" id="{E597C236-139F-BDE1-86CE-AEE97D8F38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070" y="1410150"/>
            <a:ext cx="3040347" cy="2954733"/>
          </a:xfrm>
          <a:prstGeom prst="rect">
            <a:avLst/>
          </a:prstGeom>
        </p:spPr>
      </p:pic>
      <p:pic>
        <p:nvPicPr>
          <p:cNvPr id="6" name="Picture 5" descr="synapse link menu item">
            <a:extLst>
              <a:ext uri="{FF2B5EF4-FFF2-40B4-BE49-F238E27FC236}">
                <a16:creationId xmlns:a16="http://schemas.microsoft.com/office/drawing/2014/main" id="{CE293C37-C176-AE0B-0A46-2B6C33B9A5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070" y="4687378"/>
            <a:ext cx="2232418" cy="1641484"/>
          </a:xfrm>
          <a:prstGeom prst="rect">
            <a:avLst/>
          </a:prstGeom>
        </p:spPr>
      </p:pic>
      <p:pic>
        <p:nvPicPr>
          <p:cNvPr id="7" name="Content Placeholder 6" descr="enable synapse link for cosmos db account">
            <a:extLst>
              <a:ext uri="{FF2B5EF4-FFF2-40B4-BE49-F238E27FC236}">
                <a16:creationId xmlns:a16="http://schemas.microsoft.com/office/drawing/2014/main" id="{9924B196-0A7F-8481-89DA-85A98F88B9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858731" y="1410150"/>
            <a:ext cx="4953429" cy="1851820"/>
          </a:xfrm>
          <a:prstGeom prst="rect">
            <a:avLst/>
          </a:prstGeom>
        </p:spPr>
      </p:pic>
      <p:pic>
        <p:nvPicPr>
          <p:cNvPr id="8" name="Picture 7" descr="choose for which containers you want to enable the analytical store">
            <a:extLst>
              <a:ext uri="{FF2B5EF4-FFF2-40B4-BE49-F238E27FC236}">
                <a16:creationId xmlns:a16="http://schemas.microsoft.com/office/drawing/2014/main" id="{1F9980E6-9C56-39F0-D4EC-E456213FFB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58731" y="3429000"/>
            <a:ext cx="5287542" cy="330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8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38A42-A3FD-56B1-9F35-00F3851D6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 to external data</a:t>
            </a:r>
            <a:endParaRPr lang="nl-BE" dirty="0"/>
          </a:p>
        </p:txBody>
      </p:sp>
      <p:pic>
        <p:nvPicPr>
          <p:cNvPr id="4" name="Picture 3" descr="connect to external data step 1">
            <a:extLst>
              <a:ext uri="{FF2B5EF4-FFF2-40B4-BE49-F238E27FC236}">
                <a16:creationId xmlns:a16="http://schemas.microsoft.com/office/drawing/2014/main" id="{D922CD61-CF51-5A87-1C9A-9ACDD3FCCC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30756"/>
            <a:ext cx="4800600" cy="3230880"/>
          </a:xfrm>
          <a:prstGeom prst="rect">
            <a:avLst/>
          </a:prstGeom>
        </p:spPr>
      </p:pic>
      <p:pic>
        <p:nvPicPr>
          <p:cNvPr id="5" name="Picture 4" descr="linked service for cosmos DB">
            <a:extLst>
              <a:ext uri="{FF2B5EF4-FFF2-40B4-BE49-F238E27FC236}">
                <a16:creationId xmlns:a16="http://schemas.microsoft.com/office/drawing/2014/main" id="{70B18FE6-FAD9-EBC7-35CF-ECE1EFBBD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2727" y="1530756"/>
            <a:ext cx="4389120" cy="5151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2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A4426-8688-908E-7238-10F4A8463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SQL pool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B5ECED-C9DA-FB30-70E5-45CFCAB8AE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680" y="3733800"/>
            <a:ext cx="10376120" cy="346996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DD98E29-02AF-D294-ADE2-2E25EC90A950}"/>
              </a:ext>
            </a:extLst>
          </p:cNvPr>
          <p:cNvSpPr/>
          <p:nvPr/>
        </p:nvSpPr>
        <p:spPr>
          <a:xfrm>
            <a:off x="6783882" y="4211320"/>
            <a:ext cx="4613318" cy="4018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7B82B4-2696-F6E9-10EE-A901DAC6D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7680" y="1325541"/>
            <a:ext cx="6751905" cy="217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954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46051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58722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35939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501486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425585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433000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  <p:pic>
        <p:nvPicPr>
          <p:cNvPr id="2050" name="Picture 2" descr="Microsoft Certified: Azure Cosmos DB Developer Specialty badge image. Issued by Microsoft">
            <a:extLst>
              <a:ext uri="{FF2B5EF4-FFF2-40B4-BE49-F238E27FC236}">
                <a16:creationId xmlns:a16="http://schemas.microsoft.com/office/drawing/2014/main" id="{B0646054-5A70-256C-770B-35414A52D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8972" y="1378834"/>
            <a:ext cx="2050166" cy="2050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D2C93DC1-82B1-57AC-8ADE-65CBBC98F1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6496" y="3957637"/>
            <a:ext cx="2900363" cy="290036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2028822" y="3415747"/>
            <a:ext cx="52339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3200" b="0" i="0" dirty="0">
                <a:effectLst/>
                <a:latin typeface="mastodon-font-sans-serif"/>
              </a:rPr>
              <a:t>@koen@dataplatform.social</a:t>
            </a:r>
            <a:endParaRPr kumimoji="0" lang="en-CA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2" descr="Mastodon icon in Windows 10 Style">
            <a:extLst>
              <a:ext uri="{FF2B5EF4-FFF2-40B4-BE49-F238E27FC236}">
                <a16:creationId xmlns:a16="http://schemas.microsoft.com/office/drawing/2014/main" id="{C517FCBF-BD3E-25F5-3436-70330B070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53" y="3136932"/>
            <a:ext cx="1121984" cy="112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998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FEB959-250B-1D54-C1B6-BEF39CC4E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credential</a:t>
            </a:r>
            <a:endParaRPr lang="nl-BE" dirty="0"/>
          </a:p>
        </p:txBody>
      </p:sp>
      <p:pic>
        <p:nvPicPr>
          <p:cNvPr id="4" name="Picture 3" descr="generate script for top 100 rows">
            <a:extLst>
              <a:ext uri="{FF2B5EF4-FFF2-40B4-BE49-F238E27FC236}">
                <a16:creationId xmlns:a16="http://schemas.microsoft.com/office/drawing/2014/main" id="{D938A326-47AF-1531-E144-795B5936F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71448"/>
            <a:ext cx="5958840" cy="30175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AB1E31B-6AAD-765E-3C03-630AB909352E}"/>
              </a:ext>
            </a:extLst>
          </p:cNvPr>
          <p:cNvSpPr txBox="1"/>
          <p:nvPr/>
        </p:nvSpPr>
        <p:spPr>
          <a:xfrm>
            <a:off x="660400" y="5286552"/>
            <a:ext cx="10871200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CREDENTIAL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[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myCosmosServerCredential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]</a:t>
            </a:r>
            <a:endParaRPr lang="nl-BE" sz="1800" dirty="0">
              <a:effectLst/>
              <a:latin typeface="Courier New" panose="02070309020205020404" pitchFamily="49" charset="0"/>
              <a:ea typeface="Calibri" panose="020F0502020204030204" pitchFamily="34" charset="0"/>
              <a:cs typeface="Lucida Console" panose="020B0609040504020204" pitchFamily="49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  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WITH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IDENTITY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= </a:t>
            </a:r>
            <a:r>
              <a:rPr lang="en-US" sz="1800" dirty="0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'SHARED ACCESS SIGNATURE'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, </a:t>
            </a:r>
            <a:r>
              <a:rPr lang="en-US" sz="1800" dirty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SECRET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 = </a:t>
            </a:r>
            <a:r>
              <a:rPr lang="en-US" sz="1800" dirty="0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'</a:t>
            </a:r>
            <a:r>
              <a:rPr lang="en-US" sz="1800" dirty="0" err="1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mysecretkey</a:t>
            </a:r>
            <a:r>
              <a:rPr lang="en-US" sz="1800" dirty="0">
                <a:solidFill>
                  <a:srgbClr val="A31515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  <a:cs typeface="Lucida Console" panose="020B0609040504020204" pitchFamily="49" charset="0"/>
              </a:rPr>
              <a:t>'</a:t>
            </a:r>
            <a:endParaRPr lang="nl-BE" sz="1800" dirty="0">
              <a:effectLst/>
              <a:latin typeface="Courier New" panose="02070309020205020404" pitchFamily="49" charset="0"/>
              <a:ea typeface="Calibri" panose="020F0502020204030204" pitchFamily="34" charset="0"/>
              <a:cs typeface="Lucida Console" panose="020B0609040504020204" pitchFamily="49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0A6501-885F-53A5-02A6-70ACB3D54F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9202" y="-166282"/>
            <a:ext cx="2249195" cy="210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95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AA16AF-FD8D-7BF1-F3A1-140685EE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t!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8EFF29-E931-8DF7-B662-BF5D69B68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675083"/>
            <a:ext cx="8212350" cy="4527754"/>
          </a:xfrm>
          <a:prstGeom prst="rect">
            <a:avLst/>
          </a:prstGeom>
        </p:spPr>
      </p:pic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FAE6E0D1-904C-ACF7-78CE-C1B7870065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2331" y="0"/>
            <a:ext cx="2602889" cy="260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21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F7353-9270-E0B2-20BA-C057E0C4F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rk pools</a:t>
            </a:r>
            <a:endParaRPr lang="nl-B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3B51B32-52E3-F379-FDCB-C8F5FEA169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52711" y="2857153"/>
            <a:ext cx="5639289" cy="4000847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B5DF729-FE1A-6586-BE1A-220EF19F1C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075" y="1538290"/>
            <a:ext cx="6375636" cy="2180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0572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F7353-9270-E0B2-20BA-C057E0C4F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books</a:t>
            </a:r>
            <a:endParaRPr lang="nl-B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10BBF0-9FAA-6DFD-8410-D9B75329C3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289980"/>
            <a:ext cx="10384312" cy="556801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BFB51F7-8307-C161-1F4B-1B731ACBFC57}"/>
              </a:ext>
            </a:extLst>
          </p:cNvPr>
          <p:cNvSpPr/>
          <p:nvPr/>
        </p:nvSpPr>
        <p:spPr>
          <a:xfrm>
            <a:off x="6976922" y="1559560"/>
            <a:ext cx="4613318" cy="4018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97D04A-B26E-33E7-545F-671B4C659B26}"/>
              </a:ext>
            </a:extLst>
          </p:cNvPr>
          <p:cNvSpPr/>
          <p:nvPr/>
        </p:nvSpPr>
        <p:spPr>
          <a:xfrm>
            <a:off x="4294682" y="2524760"/>
            <a:ext cx="3955238" cy="3418840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3953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7645D-FAB7-C5EF-87BE-EBD8A8257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ever you do…</a:t>
            </a:r>
            <a:endParaRPr lang="nl-B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45466B-B528-872C-9F41-49BC56537C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29434"/>
            <a:ext cx="10100752" cy="4164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2601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7645D-FAB7-C5EF-87BE-EBD8A8257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 make sure it’s in gi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28EC99-DD31-CA0D-2788-5A6B9158D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1822" y="1429070"/>
            <a:ext cx="5325315" cy="37767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F6BD02-2FA3-FEC7-179E-1722EE0BBA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4799" y="5344918"/>
            <a:ext cx="8375350" cy="151308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A8061D6-0EE8-0784-4809-BD435D4BEFA9}"/>
              </a:ext>
            </a:extLst>
          </p:cNvPr>
          <p:cNvSpPr/>
          <p:nvPr/>
        </p:nvSpPr>
        <p:spPr>
          <a:xfrm>
            <a:off x="2933242" y="5886266"/>
            <a:ext cx="1161238" cy="40184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A051FF-06EC-D52B-9C54-E479A7001B51}"/>
              </a:ext>
            </a:extLst>
          </p:cNvPr>
          <p:cNvSpPr/>
          <p:nvPr/>
        </p:nvSpPr>
        <p:spPr>
          <a:xfrm>
            <a:off x="1514798" y="5344918"/>
            <a:ext cx="1858321" cy="314202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93170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8B9EA-9BBA-BC02-D9E4-C0E244A324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data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E10F7F-A363-E14C-6399-9E5C403C32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499" y="1289981"/>
            <a:ext cx="9022862" cy="5212532"/>
          </a:xfrm>
          <a:prstGeom prst="rect">
            <a:avLst/>
          </a:prstGeom>
        </p:spPr>
      </p:pic>
      <p:pic>
        <p:nvPicPr>
          <p:cNvPr id="1026" name="Picture 2" descr="untappd-vector-logo - Palmer City Alehouse">
            <a:extLst>
              <a:ext uri="{FF2B5EF4-FFF2-40B4-BE49-F238E27FC236}">
                <a16:creationId xmlns:a16="http://schemas.microsoft.com/office/drawing/2014/main" id="{D1CDC254-23C0-72E8-E2A5-6EB31AB29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7361" y="1289981"/>
            <a:ext cx="2867025" cy="159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71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AFDA15-5602-15BD-1925-9ED49C219D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6650" y="1301307"/>
            <a:ext cx="10002850" cy="3546454"/>
          </a:xfrm>
        </p:spPr>
        <p:txBody>
          <a:bodyPr>
            <a:normAutofit/>
          </a:bodyPr>
          <a:lstStyle/>
          <a:p>
            <a:r>
              <a:rPr lang="en-US" sz="19900" dirty="0"/>
              <a:t>DEMO</a:t>
            </a:r>
            <a:endParaRPr lang="nl-BE" sz="199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B74547B-B533-5E5B-5554-0666DD8931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108" y="3173368"/>
            <a:ext cx="3799316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64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8EA40A-55AE-2F61-B8BD-2D1919F46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nge behavior?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CABB03-3F0A-3210-041E-1512E208A2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487" y="1363882"/>
            <a:ext cx="5707875" cy="22633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6A9EA3-DD7B-F402-1DF2-6B8C8F6937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3962719"/>
            <a:ext cx="5410200" cy="2895281"/>
          </a:xfrm>
          <a:prstGeom prst="rect">
            <a:avLst/>
          </a:prstGeom>
        </p:spPr>
      </p:pic>
      <p:pic>
        <p:nvPicPr>
          <p:cNvPr id="1026" name="Picture 2" descr="Visible Confusion] | Know Your Meme">
            <a:extLst>
              <a:ext uri="{FF2B5EF4-FFF2-40B4-BE49-F238E27FC236}">
                <a16:creationId xmlns:a16="http://schemas.microsoft.com/office/drawing/2014/main" id="{080F0402-E3DC-7D0C-A99B-819E49BA08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920" y="586691"/>
            <a:ext cx="3217333" cy="180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eme: &quot;*Internal Confusion*&quot; - All Templates - Meme-arsenal.com">
            <a:extLst>
              <a:ext uri="{FF2B5EF4-FFF2-40B4-BE49-F238E27FC236}">
                <a16:creationId xmlns:a16="http://schemas.microsoft.com/office/drawing/2014/main" id="{842260C5-33E9-D8D6-0656-78C3FDCBE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300" y="2495550"/>
            <a:ext cx="4261841" cy="258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ME IS CONFUSION - Jackie Chan Why? | Make a Meme">
            <a:extLst>
              <a:ext uri="{FF2B5EF4-FFF2-40B4-BE49-F238E27FC236}">
                <a16:creationId xmlns:a16="http://schemas.microsoft.com/office/drawing/2014/main" id="{EE0726A7-AD65-2B3F-3FC2-880821395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2053" y="5174762"/>
            <a:ext cx="2362200" cy="1531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41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1813E-AC4E-156D-513E-B4D1273EE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TL vs ATTL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8989F-A3E1-D644-8224-576CC0B8F8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0A6B11-9E0B-47CE-13FE-91C0D4E3C1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101" y="1289981"/>
            <a:ext cx="5381797" cy="53817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563DB63-5B38-647D-1C7A-306E7F304D2E}"/>
              </a:ext>
            </a:extLst>
          </p:cNvPr>
          <p:cNvSpPr/>
          <p:nvPr/>
        </p:nvSpPr>
        <p:spPr>
          <a:xfrm>
            <a:off x="6096000" y="2314575"/>
            <a:ext cx="2047875" cy="122872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8F2CEAF-1D6E-C531-3503-656D92D07C0F}"/>
              </a:ext>
            </a:extLst>
          </p:cNvPr>
          <p:cNvSpPr/>
          <p:nvPr/>
        </p:nvSpPr>
        <p:spPr>
          <a:xfrm>
            <a:off x="6095999" y="4581282"/>
            <a:ext cx="2047875" cy="1228726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230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5D721-C059-5BC2-09E3-906DBD777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se case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B053FE2-AD4D-C0F4-C6C9-42C14649B9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5117" y="1325674"/>
            <a:ext cx="1598971" cy="1465723"/>
          </a:xfrm>
          <a:prstGeom prst="rect">
            <a:avLst/>
          </a:prstGeom>
        </p:spPr>
      </p:pic>
      <p:pic>
        <p:nvPicPr>
          <p:cNvPr id="1026" name="Picture 2" descr="Container free icon">
            <a:extLst>
              <a:ext uri="{FF2B5EF4-FFF2-40B4-BE49-F238E27FC236}">
                <a16:creationId xmlns:a16="http://schemas.microsoft.com/office/drawing/2014/main" id="{49E3E291-8116-6FCC-19DC-D608E4186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2566007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ontainer free icon">
            <a:extLst>
              <a:ext uri="{FF2B5EF4-FFF2-40B4-BE49-F238E27FC236}">
                <a16:creationId xmlns:a16="http://schemas.microsoft.com/office/drawing/2014/main" id="{85A3D76E-3D7D-194B-66C6-6B0707B54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3622974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ontainer free icon">
            <a:extLst>
              <a:ext uri="{FF2B5EF4-FFF2-40B4-BE49-F238E27FC236}">
                <a16:creationId xmlns:a16="http://schemas.microsoft.com/office/drawing/2014/main" id="{E7C305B7-9C2B-70A4-70FD-CF36611D1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585" y="4679941"/>
            <a:ext cx="1140542" cy="11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D81E438-D1FF-9C46-4B44-F28DA18EAA03}"/>
              </a:ext>
            </a:extLst>
          </p:cNvPr>
          <p:cNvSpPr txBox="1"/>
          <p:nvPr/>
        </p:nvSpPr>
        <p:spPr>
          <a:xfrm>
            <a:off x="3947585" y="3438308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A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A09CBD-F3EA-8861-751D-E6E2286DB576}"/>
              </a:ext>
            </a:extLst>
          </p:cNvPr>
          <p:cNvSpPr txBox="1"/>
          <p:nvPr/>
        </p:nvSpPr>
        <p:spPr>
          <a:xfrm>
            <a:off x="3947585" y="4495275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B</a:t>
            </a:r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43110-F8BF-9244-1EFC-D63540EE0FC1}"/>
              </a:ext>
            </a:extLst>
          </p:cNvPr>
          <p:cNvSpPr txBox="1"/>
          <p:nvPr/>
        </p:nvSpPr>
        <p:spPr>
          <a:xfrm>
            <a:off x="3947585" y="5552242"/>
            <a:ext cx="1411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perator C</a:t>
            </a:r>
            <a:endParaRPr lang="nl-BE" dirty="0"/>
          </a:p>
        </p:txBody>
      </p:sp>
      <p:pic>
        <p:nvPicPr>
          <p:cNvPr id="1028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22246D64-56FA-6463-C9A2-A75612F3A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3492205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8EA490C1-C2A3-7458-1101-E6898B6D5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420134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0645F610-FE3C-E3F7-DB18-4360E1B41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2" y="4930202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Digital meter, electricity meter, energy meter, power meter icon - Download on Iconfinder">
            <a:extLst>
              <a:ext uri="{FF2B5EF4-FFF2-40B4-BE49-F238E27FC236}">
                <a16:creationId xmlns:a16="http://schemas.microsoft.com/office/drawing/2014/main" id="{170EEFF4-F030-3D35-F075-B7FF6C302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995" y="5659057"/>
            <a:ext cx="716666" cy="716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CCB7373-81AF-1225-1741-6FFDDEA5F59C}"/>
              </a:ext>
            </a:extLst>
          </p:cNvPr>
          <p:cNvCxnSpPr>
            <a:stCxn id="1028" idx="3"/>
            <a:endCxn id="1026" idx="1"/>
          </p:cNvCxnSpPr>
          <p:nvPr/>
        </p:nvCxnSpPr>
        <p:spPr>
          <a:xfrm flipV="1">
            <a:off x="1433328" y="3136278"/>
            <a:ext cx="2514257" cy="71426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9688FEC-A0BE-BB17-E5FB-C3597E502BB0}"/>
              </a:ext>
            </a:extLst>
          </p:cNvPr>
          <p:cNvCxnSpPr>
            <a:cxnSpLocks/>
            <a:stCxn id="10" idx="3"/>
            <a:endCxn id="5" idx="1"/>
          </p:cNvCxnSpPr>
          <p:nvPr/>
        </p:nvCxnSpPr>
        <p:spPr>
          <a:xfrm flipV="1">
            <a:off x="1791661" y="4193245"/>
            <a:ext cx="2155924" cy="366435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CC0F771-FA89-8459-C5D2-D1AD19389377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 flipV="1">
            <a:off x="1433328" y="5250212"/>
            <a:ext cx="2514257" cy="38323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C53C5860-7A00-92D0-3971-0EAABB00D7AC}"/>
              </a:ext>
            </a:extLst>
          </p:cNvPr>
          <p:cNvCxnSpPr>
            <a:cxnSpLocks/>
            <a:stCxn id="12" idx="3"/>
            <a:endCxn id="6" idx="1"/>
          </p:cNvCxnSpPr>
          <p:nvPr/>
        </p:nvCxnSpPr>
        <p:spPr>
          <a:xfrm flipV="1">
            <a:off x="1791661" y="5250212"/>
            <a:ext cx="2155924" cy="767178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22CE956E-191C-CA98-A2C3-398CAC4B45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3435" y="1188099"/>
            <a:ext cx="5613209" cy="4795090"/>
          </a:xfrm>
          <a:prstGeom prst="rect">
            <a:avLst/>
          </a:prstGeom>
        </p:spPr>
      </p:pic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AC2FD7E9-1B3D-553E-368E-4EE99405E447}"/>
              </a:ext>
            </a:extLst>
          </p:cNvPr>
          <p:cNvCxnSpPr>
            <a:stCxn id="5" idx="3"/>
          </p:cNvCxnSpPr>
          <p:nvPr/>
        </p:nvCxnSpPr>
        <p:spPr>
          <a:xfrm flipV="1">
            <a:off x="5088127" y="3492205"/>
            <a:ext cx="1255308" cy="70104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B107867-74E5-F839-26FF-3E6F276A2F40}"/>
              </a:ext>
            </a:extLst>
          </p:cNvPr>
          <p:cNvSpPr txBox="1"/>
          <p:nvPr/>
        </p:nvSpPr>
        <p:spPr>
          <a:xfrm>
            <a:off x="4517856" y="6091829"/>
            <a:ext cx="76778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how are we going to query this data?</a:t>
            </a:r>
            <a:endParaRPr lang="nl-BE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95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3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BE6F6AB-6125-5FAB-F639-AE8ECB1E4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10926B-1E36-30ED-6E0B-93484E28AA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zure Synapse Serverless SQL Pools is </a:t>
            </a:r>
            <a:r>
              <a:rPr lang="en-US" b="1" dirty="0"/>
              <a:t>NOT AN ETL TOOL</a:t>
            </a:r>
          </a:p>
          <a:p>
            <a:pPr lvl="1"/>
            <a:r>
              <a:rPr lang="en-US" dirty="0"/>
              <a:t>You cannot overwrite an “external table”</a:t>
            </a:r>
          </a:p>
          <a:p>
            <a:pPr lvl="1"/>
            <a:r>
              <a:rPr lang="en-US" dirty="0"/>
              <a:t>Deleting the table first doesn’t work</a:t>
            </a:r>
          </a:p>
          <a:p>
            <a:pPr lvl="1"/>
            <a:endParaRPr lang="en-US" dirty="0"/>
          </a:p>
          <a:p>
            <a:r>
              <a:rPr lang="en-US" dirty="0"/>
              <a:t>There are specific performance optimizations when working with Synapse Link for Azure Cosmos DB</a:t>
            </a:r>
          </a:p>
          <a:p>
            <a:pPr lvl="1"/>
            <a:r>
              <a:rPr lang="en-US" dirty="0"/>
              <a:t>Set database in a UTF-8 collation</a:t>
            </a:r>
          </a:p>
          <a:p>
            <a:pPr lvl="1"/>
            <a:r>
              <a:rPr lang="en-US" dirty="0"/>
              <a:t>Explicitly set schema</a:t>
            </a:r>
          </a:p>
          <a:p>
            <a:pPr lvl="1"/>
            <a:r>
              <a:rPr lang="en-US" dirty="0"/>
              <a:t>Filter data in WHERE clause</a:t>
            </a:r>
          </a:p>
          <a:p>
            <a:pPr lvl="1"/>
            <a:r>
              <a:rPr lang="en-US" dirty="0">
                <a:hlinkClick r:id="rId2"/>
              </a:rPr>
              <a:t>Best practices for integrating serverless SQL pool with Cosmos DB Analytical store via Synapse Link</a:t>
            </a:r>
            <a:endParaRPr lang="en-US" dirty="0"/>
          </a:p>
          <a:p>
            <a:pPr lvl="1"/>
            <a:r>
              <a:rPr lang="en-US" dirty="0">
                <a:hlinkClick r:id="rId3"/>
              </a:rPr>
              <a:t>Optimize database schema in serverless SQL pools using QPI librar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9334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DF406-119B-F1DE-376F-179E0BB7B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3599B-47E8-4ABB-8DBD-C383AC1EF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mp the data somewhere else</a:t>
            </a:r>
          </a:p>
          <a:p>
            <a:pPr lvl="1"/>
            <a:r>
              <a:rPr lang="en-US" dirty="0"/>
              <a:t>either by the original process</a:t>
            </a:r>
            <a:endParaRPr lang="nl-BE" dirty="0"/>
          </a:p>
          <a:p>
            <a:pPr lvl="1"/>
            <a:r>
              <a:rPr lang="nl-BE" dirty="0"/>
              <a:t>but </a:t>
            </a:r>
            <a:r>
              <a:rPr lang="nl-BE" dirty="0" err="1"/>
              <a:t>what</a:t>
            </a:r>
            <a:r>
              <a:rPr lang="nl-BE" dirty="0"/>
              <a:t> </a:t>
            </a:r>
            <a:r>
              <a:rPr lang="nl-BE" dirty="0" err="1"/>
              <a:t>about</a:t>
            </a:r>
            <a:r>
              <a:rPr lang="nl-BE" dirty="0"/>
              <a:t> updates/</a:t>
            </a:r>
            <a:r>
              <a:rPr lang="nl-BE" dirty="0" err="1"/>
              <a:t>deletes</a:t>
            </a:r>
            <a:r>
              <a:rPr lang="nl-BE" dirty="0"/>
              <a:t>?</a:t>
            </a:r>
          </a:p>
          <a:p>
            <a:pPr lvl="1"/>
            <a:endParaRPr lang="nl-BE" dirty="0"/>
          </a:p>
          <a:p>
            <a:pPr lvl="1"/>
            <a:r>
              <a:rPr lang="nl-BE" dirty="0" err="1"/>
              <a:t>read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data </a:t>
            </a:r>
            <a:r>
              <a:rPr lang="nl-BE" dirty="0" err="1"/>
              <a:t>with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ETL/ELT tool of </a:t>
            </a:r>
            <a:r>
              <a:rPr lang="nl-BE" dirty="0" err="1"/>
              <a:t>your</a:t>
            </a:r>
            <a:r>
              <a:rPr lang="nl-BE" dirty="0"/>
              <a:t> </a:t>
            </a:r>
            <a:r>
              <a:rPr lang="nl-BE" dirty="0" err="1"/>
              <a:t>choice</a:t>
            </a:r>
            <a:r>
              <a:rPr lang="nl-BE" dirty="0"/>
              <a:t>, </a:t>
            </a:r>
            <a:r>
              <a:rPr lang="nl-BE" dirty="0" err="1"/>
              <a:t>and</a:t>
            </a:r>
            <a:r>
              <a:rPr lang="nl-BE" dirty="0"/>
              <a:t> store </a:t>
            </a:r>
            <a:r>
              <a:rPr lang="nl-BE" dirty="0" err="1"/>
              <a:t>it</a:t>
            </a:r>
            <a:r>
              <a:rPr lang="nl-BE" dirty="0"/>
              <a:t> in a data </a:t>
            </a:r>
            <a:r>
              <a:rPr lang="nl-BE" dirty="0" err="1"/>
              <a:t>lake</a:t>
            </a:r>
            <a:r>
              <a:rPr lang="nl-BE" dirty="0"/>
              <a:t>/</a:t>
            </a:r>
            <a:r>
              <a:rPr lang="nl-BE" dirty="0" err="1"/>
              <a:t>lakehouse</a:t>
            </a:r>
            <a:r>
              <a:rPr lang="nl-BE" dirty="0"/>
              <a:t>/data warehouse/</a:t>
            </a:r>
            <a:r>
              <a:rPr lang="nl-BE" dirty="0" err="1"/>
              <a:t>whatever</a:t>
            </a:r>
            <a:endParaRPr lang="nl-BE" dirty="0"/>
          </a:p>
          <a:p>
            <a:pPr lvl="1"/>
            <a:endParaRPr lang="nl-BE" dirty="0"/>
          </a:p>
          <a:p>
            <a:pPr lvl="1"/>
            <a:r>
              <a:rPr lang="nl-BE" dirty="0"/>
              <a:t>ADF </a:t>
            </a:r>
            <a:r>
              <a:rPr lang="nl-BE" dirty="0" err="1"/>
              <a:t>can</a:t>
            </a:r>
            <a:r>
              <a:rPr lang="nl-BE" dirty="0"/>
              <a:t> have </a:t>
            </a:r>
            <a:r>
              <a:rPr lang="nl-BE" dirty="0" err="1"/>
              <a:t>some</a:t>
            </a:r>
            <a:r>
              <a:rPr lang="nl-BE" dirty="0"/>
              <a:t> </a:t>
            </a:r>
            <a:r>
              <a:rPr lang="nl-BE" dirty="0" err="1"/>
              <a:t>trouble</a:t>
            </a:r>
            <a:r>
              <a:rPr lang="nl-BE" dirty="0"/>
              <a:t> </a:t>
            </a:r>
            <a:r>
              <a:rPr lang="nl-BE" dirty="0" err="1"/>
              <a:t>with</a:t>
            </a:r>
            <a:r>
              <a:rPr lang="nl-BE" dirty="0"/>
              <a:t> complex JS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96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DF406-119B-F1DE-376F-179E0BB7B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3599B-47E8-4ABB-8DBD-C383AC1EF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zure Synapse Link for Cosmos DB to Azure Data Explorer (preview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153BAF-8983-764D-8E49-87CE29043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2308" y="2122772"/>
            <a:ext cx="7887383" cy="4054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3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7D410-AE9E-9835-AB26-B2FB60011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963794-FC05-A375-A643-969DBC333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’s also ADX pools</a:t>
            </a:r>
            <a:br>
              <a:rPr lang="en-US" dirty="0"/>
            </a:br>
            <a:r>
              <a:rPr lang="en-US" dirty="0"/>
              <a:t>in Azure Synapse (preview)</a:t>
            </a:r>
          </a:p>
          <a:p>
            <a:endParaRPr lang="en-US" dirty="0"/>
          </a:p>
          <a:p>
            <a:r>
              <a:rPr lang="en-US" dirty="0"/>
              <a:t>this scenario isn’t</a:t>
            </a:r>
            <a:br>
              <a:rPr lang="en-US" dirty="0"/>
            </a:br>
            <a:r>
              <a:rPr lang="en-US" dirty="0"/>
              <a:t>supported ye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56DD31-67DC-0598-C87A-9032CC345F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0567" y="0"/>
            <a:ext cx="65914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80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6E8ABB-376F-E351-8CD5-3E5474BF8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pic>
        <p:nvPicPr>
          <p:cNvPr id="4" name="Picture 3" descr="configure database options">
            <a:extLst>
              <a:ext uri="{FF2B5EF4-FFF2-40B4-BE49-F238E27FC236}">
                <a16:creationId xmlns:a16="http://schemas.microsoft.com/office/drawing/2014/main" id="{6179BC4B-C709-11C8-0D17-929710544D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78964"/>
            <a:ext cx="4408006" cy="2883535"/>
          </a:xfrm>
          <a:prstGeom prst="rect">
            <a:avLst/>
          </a:prstGeom>
        </p:spPr>
      </p:pic>
      <p:pic>
        <p:nvPicPr>
          <p:cNvPr id="5" name="Picture 4" descr=".create table script in the ADX query editor">
            <a:extLst>
              <a:ext uri="{FF2B5EF4-FFF2-40B4-BE49-F238E27FC236}">
                <a16:creationId xmlns:a16="http://schemas.microsoft.com/office/drawing/2014/main" id="{7FDB537E-B494-AFA1-FDA1-BE852667B1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8128"/>
          <a:stretch/>
        </p:blipFill>
        <p:spPr>
          <a:xfrm>
            <a:off x="5756910" y="559645"/>
            <a:ext cx="5673090" cy="5738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8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EC8F0-0317-676D-4C2D-D2D9DA735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4606A7-5764-6BCE-CC92-F01CFF50C8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4" name="Picture 3" descr="create table mapping">
            <a:extLst>
              <a:ext uri="{FF2B5EF4-FFF2-40B4-BE49-F238E27FC236}">
                <a16:creationId xmlns:a16="http://schemas.microsoft.com/office/drawing/2014/main" id="{4251B3F3-609F-DFE0-A80B-19CE918593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457011"/>
            <a:ext cx="9629775" cy="5281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18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28558-26AA-373E-C4D6-93E33D501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pic>
        <p:nvPicPr>
          <p:cNvPr id="4" name="Picture 3" descr="create connection to cosmos DB">
            <a:extLst>
              <a:ext uri="{FF2B5EF4-FFF2-40B4-BE49-F238E27FC236}">
                <a16:creationId xmlns:a16="http://schemas.microsoft.com/office/drawing/2014/main" id="{6708A417-4A31-812E-8EDC-5522249738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6389"/>
          <a:stretch/>
        </p:blipFill>
        <p:spPr>
          <a:xfrm>
            <a:off x="838200" y="1491920"/>
            <a:ext cx="5121784" cy="3931920"/>
          </a:xfrm>
          <a:prstGeom prst="rect">
            <a:avLst/>
          </a:prstGeom>
        </p:spPr>
      </p:pic>
      <p:pic>
        <p:nvPicPr>
          <p:cNvPr id="5" name="Content Placeholder 4" descr="configure cosmos db connection in ADX">
            <a:extLst>
              <a:ext uri="{FF2B5EF4-FFF2-40B4-BE49-F238E27FC236}">
                <a16:creationId xmlns:a16="http://schemas.microsoft.com/office/drawing/2014/main" id="{2805BC27-2A5D-C3D0-6F65-7E28C14742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77025" y="0"/>
            <a:ext cx="4552950" cy="691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2E884-9A3F-A4EF-5B3E-055A423F4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ED3154-B76E-4E88-8556-533A77CA05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ata will be imported from the specified start dat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hen it’s imported, you can query it with KQL</a:t>
            </a:r>
            <a:endParaRPr lang="nl-BE" dirty="0"/>
          </a:p>
        </p:txBody>
      </p:sp>
      <p:pic>
        <p:nvPicPr>
          <p:cNvPr id="4" name="Picture 3" descr="database size">
            <a:extLst>
              <a:ext uri="{FF2B5EF4-FFF2-40B4-BE49-F238E27FC236}">
                <a16:creationId xmlns:a16="http://schemas.microsoft.com/office/drawing/2014/main" id="{A52EC96E-97E3-83C4-E6F1-5F6F567788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3251"/>
          <a:stretch/>
        </p:blipFill>
        <p:spPr>
          <a:xfrm>
            <a:off x="838200" y="2323786"/>
            <a:ext cx="7525448" cy="197198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B9F8D3-9B3E-A319-4483-A913A60B2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5018" y="3309780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24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AFDA15-5602-15BD-1925-9ED49C219D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56650" y="1301307"/>
            <a:ext cx="10002850" cy="3546454"/>
          </a:xfrm>
        </p:spPr>
        <p:txBody>
          <a:bodyPr>
            <a:normAutofit/>
          </a:bodyPr>
          <a:lstStyle/>
          <a:p>
            <a:r>
              <a:rPr lang="en-US" sz="19900" dirty="0"/>
              <a:t>DEMO</a:t>
            </a:r>
            <a:endParaRPr lang="nl-BE" sz="199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512434-404D-3EC9-EDE4-35FB203EEE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6582" y="3354343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99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CCFAD2-636B-5E91-A571-1464AB2B2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vs ADX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0010B8-D63D-A3C0-10D6-D6A1B3C5B9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erless</a:t>
            </a:r>
          </a:p>
          <a:p>
            <a:pPr lvl="1"/>
            <a:r>
              <a:rPr lang="en-US" dirty="0"/>
              <a:t>no size confi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TB scann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QL</a:t>
            </a:r>
          </a:p>
          <a:p>
            <a:pPr lvl="1"/>
            <a:endParaRPr lang="nl-BE" dirty="0"/>
          </a:p>
          <a:p>
            <a:pPr lvl="1"/>
            <a:r>
              <a:rPr lang="nl-BE" dirty="0"/>
              <a:t>data “</a:t>
            </a:r>
            <a:r>
              <a:rPr lang="nl-BE" dirty="0" err="1"/>
              <a:t>stays</a:t>
            </a:r>
            <a:r>
              <a:rPr lang="nl-BE" dirty="0"/>
              <a:t>” in source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analytical</a:t>
            </a:r>
            <a:r>
              <a:rPr lang="nl-BE" dirty="0"/>
              <a:t> store)</a:t>
            </a:r>
          </a:p>
          <a:p>
            <a:pPr lvl="1"/>
            <a:endParaRPr lang="nl-BE" dirty="0"/>
          </a:p>
          <a:p>
            <a:pPr lvl="1"/>
            <a:r>
              <a:rPr lang="nl-BE" dirty="0"/>
              <a:t>ad-hoc analysis</a:t>
            </a:r>
            <a:br>
              <a:rPr lang="nl-BE" dirty="0"/>
            </a:br>
            <a:r>
              <a:rPr lang="nl-BE" dirty="0"/>
              <a:t>pass-</a:t>
            </a:r>
            <a:r>
              <a:rPr lang="nl-BE" dirty="0" err="1"/>
              <a:t>through</a:t>
            </a:r>
            <a:r>
              <a:rPr lang="nl-BE" dirty="0"/>
              <a:t> </a:t>
            </a:r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other</a:t>
            </a:r>
            <a:r>
              <a:rPr lang="nl-BE" dirty="0"/>
              <a:t> tool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6FBF901-14E6-445D-1507-C19EE3ABC4C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8" y="1457011"/>
            <a:ext cx="6041781" cy="4719952"/>
          </a:xfrm>
        </p:spPr>
        <p:txBody>
          <a:bodyPr/>
          <a:lstStyle/>
          <a:p>
            <a:r>
              <a:rPr lang="en-US" dirty="0"/>
              <a:t>Data Explorer</a:t>
            </a:r>
          </a:p>
          <a:p>
            <a:pPr lvl="1"/>
            <a:r>
              <a:rPr lang="en-US" dirty="0"/>
              <a:t>cluster size is specifi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min cluster is running + storage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KQL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a is copied to ADX - append-only</a:t>
            </a:r>
            <a:br>
              <a:rPr lang="en-US" dirty="0"/>
            </a:br>
            <a:r>
              <a:rPr lang="en-US" dirty="0"/>
              <a:t>(using Cosmos change feed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ad-hoc analysis</a:t>
            </a:r>
            <a:br>
              <a:rPr lang="en-US" dirty="0"/>
            </a:br>
            <a:r>
              <a:rPr lang="en-US" dirty="0"/>
              <a:t>(can be used </a:t>
            </a:r>
            <a:r>
              <a:rPr lang="en-US"/>
              <a:t>as pass-through as well)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75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B1167-871C-5E8A-2EA4-953753E50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going to talk about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939355-00AD-61D2-FF68-9A0780804D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Azure Cosmos DB recap</a:t>
            </a:r>
          </a:p>
          <a:p>
            <a:endParaRPr lang="en-US" dirty="0"/>
          </a:p>
          <a:p>
            <a:r>
              <a:rPr lang="en-US" dirty="0"/>
              <a:t>the Analytical Store</a:t>
            </a:r>
          </a:p>
          <a:p>
            <a:endParaRPr lang="en-US" dirty="0"/>
          </a:p>
          <a:p>
            <a:r>
              <a:rPr lang="en-US" dirty="0"/>
              <a:t>Azure Synapse Link</a:t>
            </a:r>
          </a:p>
          <a:p>
            <a:endParaRPr lang="en-US" dirty="0"/>
          </a:p>
          <a:p>
            <a:r>
              <a:rPr lang="nl-BE" dirty="0" err="1"/>
              <a:t>alternatives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C9424EC-22A4-4DB8-7CA0-78C6D90D03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2592" y="3429000"/>
            <a:ext cx="3799316" cy="347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44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DF406-119B-F1DE-376F-179E0BB7B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3599B-47E8-4ABB-8DBD-C383AC1EF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ata flow in ADF (supports CDC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1CBC43-D8D7-6F58-0AAA-F2B3930C23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288" y="2080098"/>
            <a:ext cx="4650142" cy="44540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8210FD-4305-1430-1DEB-372DB9FB03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8919" y="2255373"/>
            <a:ext cx="4954881" cy="4278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41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CCFAD2-636B-5E91-A571-1464AB2B2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vs ADF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0010B8-D63D-A3C0-10D6-D6A1B3C5B9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erless</a:t>
            </a:r>
          </a:p>
          <a:p>
            <a:pPr lvl="1"/>
            <a:r>
              <a:rPr lang="en-US" dirty="0"/>
              <a:t>no size confi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TB scann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QL</a:t>
            </a:r>
          </a:p>
          <a:p>
            <a:pPr lvl="1"/>
            <a:endParaRPr lang="nl-BE" dirty="0"/>
          </a:p>
          <a:p>
            <a:pPr lvl="1"/>
            <a:r>
              <a:rPr lang="nl-BE" dirty="0"/>
              <a:t>data “</a:t>
            </a:r>
            <a:r>
              <a:rPr lang="nl-BE" dirty="0" err="1"/>
              <a:t>stays</a:t>
            </a:r>
            <a:r>
              <a:rPr lang="nl-BE" dirty="0"/>
              <a:t>” in source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analytical</a:t>
            </a:r>
            <a:r>
              <a:rPr lang="nl-BE" dirty="0"/>
              <a:t> store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6FBF901-14E6-445D-1507-C19EE3ABC4C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8" y="1457011"/>
            <a:ext cx="6041781" cy="4719952"/>
          </a:xfrm>
        </p:spPr>
        <p:txBody>
          <a:bodyPr/>
          <a:lstStyle/>
          <a:p>
            <a:r>
              <a:rPr lang="en-US" dirty="0"/>
              <a:t>ADF data flow</a:t>
            </a:r>
          </a:p>
          <a:p>
            <a:pPr lvl="1"/>
            <a:r>
              <a:rPr lang="en-US" dirty="0"/>
              <a:t>cluster size is specifie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$$$ = #min cluster is runnin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o code (but you can write SQL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a is copied from analytical store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you need a sink</a:t>
            </a:r>
            <a:br>
              <a:rPr lang="nl-BE" dirty="0"/>
            </a:br>
            <a:r>
              <a:rPr lang="nl-BE" dirty="0"/>
              <a:t>(</a:t>
            </a:r>
            <a:r>
              <a:rPr lang="nl-BE" dirty="0" err="1"/>
              <a:t>not</a:t>
            </a:r>
            <a:r>
              <a:rPr lang="nl-BE" dirty="0"/>
              <a:t> a query engin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17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CBEFA-B6EE-0CCE-AF17-8BDA41C0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4C1A66-D4BB-B54E-687F-FEC8FC9674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multiple options to read/analyze data from Cosmos DB</a:t>
            </a:r>
          </a:p>
          <a:p>
            <a:endParaRPr lang="en-US" dirty="0"/>
          </a:p>
          <a:p>
            <a:r>
              <a:rPr lang="en-US" dirty="0"/>
              <a:t>either use the analytical store or copy data</a:t>
            </a:r>
          </a:p>
          <a:p>
            <a:endParaRPr lang="en-US" dirty="0"/>
          </a:p>
          <a:p>
            <a:r>
              <a:rPr lang="en-US" dirty="0"/>
              <a:t>cheapest option is probably serverless</a:t>
            </a:r>
          </a:p>
          <a:p>
            <a:endParaRPr lang="en-US" dirty="0"/>
          </a:p>
          <a:p>
            <a:r>
              <a:rPr lang="en-US" dirty="0"/>
              <a:t>but test for your use case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1D53E8-3CA2-A86D-D708-A95646F1CC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8317" y="3611518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757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CBEFA-B6EE-0CCE-AF17-8BDA41C0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4C1A66-D4BB-B54E-687F-FEC8FC9674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err="1">
                <a:hlinkClick r:id="rId2"/>
              </a:rPr>
              <a:t>Cosmos</a:t>
            </a:r>
            <a:r>
              <a:rPr lang="nl-BE" dirty="0">
                <a:hlinkClick r:id="rId2"/>
              </a:rPr>
              <a:t> DB Learning </a:t>
            </a:r>
            <a:r>
              <a:rPr lang="nl-BE" dirty="0" err="1">
                <a:hlinkClick r:id="rId2"/>
              </a:rPr>
              <a:t>Path</a:t>
            </a:r>
            <a:endParaRPr lang="nl-BE" dirty="0"/>
          </a:p>
          <a:p>
            <a:r>
              <a:rPr lang="en-US" dirty="0">
                <a:hlinkClick r:id="rId3"/>
              </a:rPr>
              <a:t>How to Install </a:t>
            </a:r>
            <a:r>
              <a:rPr lang="en-US" dirty="0" err="1">
                <a:hlinkClick r:id="rId3"/>
              </a:rPr>
              <a:t>Cosmicworks</a:t>
            </a:r>
            <a:r>
              <a:rPr lang="en-US" dirty="0">
                <a:hlinkClick r:id="rId3"/>
              </a:rPr>
              <a:t> Sample Database in Azure Cosmos DB</a:t>
            </a:r>
            <a:endParaRPr lang="nl-BE" dirty="0"/>
          </a:p>
          <a:p>
            <a:r>
              <a:rPr lang="en-US" dirty="0">
                <a:hlinkClick r:id="rId4"/>
              </a:rPr>
              <a:t>What is Azure Cosmos DB analytical store?</a:t>
            </a:r>
            <a:endParaRPr lang="nl-BE" dirty="0"/>
          </a:p>
          <a:p>
            <a:r>
              <a:rPr lang="nl-BE" dirty="0" err="1">
                <a:hlinkClick r:id="rId5"/>
              </a:rPr>
              <a:t>Analyze</a:t>
            </a:r>
            <a:r>
              <a:rPr lang="nl-BE" dirty="0">
                <a:hlinkClick r:id="rId5"/>
              </a:rPr>
              <a:t> Azure </a:t>
            </a:r>
            <a:r>
              <a:rPr lang="nl-BE" dirty="0" err="1">
                <a:hlinkClick r:id="rId5"/>
              </a:rPr>
              <a:t>Cosmos</a:t>
            </a:r>
            <a:r>
              <a:rPr lang="nl-BE" dirty="0">
                <a:hlinkClick r:id="rId5"/>
              </a:rPr>
              <a:t> DB data </a:t>
            </a:r>
            <a:r>
              <a:rPr lang="nl-BE" dirty="0" err="1">
                <a:hlinkClick r:id="rId5"/>
              </a:rPr>
              <a:t>with</a:t>
            </a:r>
            <a:r>
              <a:rPr lang="nl-BE" dirty="0">
                <a:hlinkClick r:id="rId5"/>
              </a:rPr>
              <a:t> </a:t>
            </a:r>
            <a:r>
              <a:rPr lang="nl-BE" dirty="0" err="1">
                <a:hlinkClick r:id="rId5"/>
              </a:rPr>
              <a:t>Synapse</a:t>
            </a:r>
            <a:r>
              <a:rPr lang="nl-BE" dirty="0">
                <a:hlinkClick r:id="rId5"/>
              </a:rPr>
              <a:t> </a:t>
            </a:r>
            <a:r>
              <a:rPr lang="nl-BE" dirty="0" err="1">
                <a:hlinkClick r:id="rId5"/>
              </a:rPr>
              <a:t>Serverless</a:t>
            </a:r>
            <a:r>
              <a:rPr lang="nl-BE" dirty="0">
                <a:hlinkClick r:id="rId5"/>
              </a:rPr>
              <a:t> SQL Pools</a:t>
            </a:r>
            <a:endParaRPr lang="nl-BE" dirty="0"/>
          </a:p>
          <a:p>
            <a:r>
              <a:rPr lang="pt-BR" dirty="0">
                <a:hlinkClick r:id="rId6"/>
              </a:rPr>
              <a:t>Azure Cosmos DB to Azure Data Explorer Synapse Link – YouTube</a:t>
            </a:r>
            <a:endParaRPr lang="pt-BR" dirty="0"/>
          </a:p>
          <a:p>
            <a:r>
              <a:rPr lang="nl-BE" dirty="0" err="1">
                <a:hlinkClick r:id="rId7"/>
              </a:rPr>
              <a:t>Cosmos</a:t>
            </a:r>
            <a:r>
              <a:rPr lang="nl-BE" dirty="0">
                <a:hlinkClick r:id="rId7"/>
              </a:rPr>
              <a:t> Down Under – Podcast</a:t>
            </a:r>
            <a:endParaRPr lang="nl-BE" dirty="0"/>
          </a:p>
          <a:p>
            <a:r>
              <a:rPr lang="en-US" dirty="0">
                <a:hlinkClick r:id="rId8"/>
              </a:rPr>
              <a:t>Capture Changed Data From your Cosmos DB analytical store (ADF)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9737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3651ED64-D411-47B5-9475-FB1B7E974F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d please give feedback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2DBC68-17CA-32D5-9A16-D60FDEAE0A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692" y="3325768"/>
            <a:ext cx="3806915" cy="38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69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Diagram showing various NoSQL models including; a key-value, document, graph, and column-family store">
            <a:extLst>
              <a:ext uri="{FF2B5EF4-FFF2-40B4-BE49-F238E27FC236}">
                <a16:creationId xmlns:a16="http://schemas.microsoft.com/office/drawing/2014/main" id="{683B4DC2-DE78-6B3F-685A-6F0E9CCE6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385" y="754019"/>
            <a:ext cx="9045615" cy="542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36A5224-856C-300B-25B2-F7EF5DF69B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12601" y="1580317"/>
            <a:ext cx="1598971" cy="146572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C908F2B-3020-2DD8-2FE6-D82F148A8714}"/>
              </a:ext>
            </a:extLst>
          </p:cNvPr>
          <p:cNvSpPr/>
          <p:nvPr/>
        </p:nvSpPr>
        <p:spPr>
          <a:xfrm>
            <a:off x="5972538" y="920186"/>
            <a:ext cx="3507129" cy="2910660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3F78FF41-41D2-2B81-8E36-AA64893D4CF9}"/>
              </a:ext>
            </a:extLst>
          </p:cNvPr>
          <p:cNvCxnSpPr>
            <a:cxnSpLocks/>
          </p:cNvCxnSpPr>
          <p:nvPr/>
        </p:nvCxnSpPr>
        <p:spPr>
          <a:xfrm rot="10800000" flipV="1">
            <a:off x="3146386" y="3830843"/>
            <a:ext cx="2826153" cy="1643981"/>
          </a:xfrm>
          <a:prstGeom prst="bentConnector3">
            <a:avLst>
              <a:gd name="adj1" fmla="val 34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BEB7DAF-C611-B039-8270-65A58C5208FE}"/>
              </a:ext>
            </a:extLst>
          </p:cNvPr>
          <p:cNvSpPr txBox="1"/>
          <p:nvPr/>
        </p:nvSpPr>
        <p:spPr>
          <a:xfrm>
            <a:off x="1484213" y="5182437"/>
            <a:ext cx="20218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SQL API</a:t>
            </a:r>
            <a:endParaRPr lang="nl-BE" sz="3200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CD8D8-31E2-21D3-1818-56A11FD31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Cosmos DB</a:t>
            </a:r>
            <a:endParaRPr lang="nl-B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E9AC33E-345B-312F-1CBF-F564B067B033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introduction-to-azure-cosmos-db-sql-api/2-what-azure-cosmos-db-sql-api</a:t>
            </a:r>
          </a:p>
        </p:txBody>
      </p:sp>
    </p:spTree>
    <p:extLst>
      <p:ext uri="{BB962C8B-B14F-4D97-AF65-F5344CB8AC3E}">
        <p14:creationId xmlns:p14="http://schemas.microsoft.com/office/powerpoint/2010/main" val="163484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Diagram showing how an Azure Cosmos DB for NoSQL account is the parent resource to a database, which is itself a parent resource to a container">
            <a:extLst>
              <a:ext uri="{FF2B5EF4-FFF2-40B4-BE49-F238E27FC236}">
                <a16:creationId xmlns:a16="http://schemas.microsoft.com/office/drawing/2014/main" id="{8FBCEF06-BAA1-67C6-7A50-F4C6586226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83" y="1442210"/>
            <a:ext cx="5869352" cy="456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C18D12-52DD-44A1-E4AD-640CDC7F9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API - structure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7814-F50F-4E1E-23E6-0EB9B891E453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introduction-to-azure-cosmos-db-sql-api/3-how-does-wor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43646A4-A4D9-4850-F406-04F7ADA797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2405" y="2222767"/>
            <a:ext cx="3960448" cy="339467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6028769-BC4D-8440-7969-B9824894FF71}"/>
              </a:ext>
            </a:extLst>
          </p:cNvPr>
          <p:cNvCxnSpPr>
            <a:cxnSpLocks/>
          </p:cNvCxnSpPr>
          <p:nvPr/>
        </p:nvCxnSpPr>
        <p:spPr>
          <a:xfrm flipV="1">
            <a:off x="6261903" y="2870522"/>
            <a:ext cx="1770927" cy="224548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7999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09B0-C45E-8844-9AD2-A5B1F6A6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A6AA0D-C38C-BADF-8E5C-1D96932CA9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659879"/>
            <a:ext cx="11887200" cy="48577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B354FA-2FF1-E3BB-6DB5-C71D3656EAD9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plan-resource-requirements/2-understand-throughput</a:t>
            </a:r>
          </a:p>
        </p:txBody>
      </p:sp>
    </p:spTree>
    <p:extLst>
      <p:ext uri="{BB962C8B-B14F-4D97-AF65-F5344CB8AC3E}">
        <p14:creationId xmlns:p14="http://schemas.microsoft.com/office/powerpoint/2010/main" val="270985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09B0-C45E-8844-9AD2-A5B1F6A6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</a:t>
            </a:r>
            <a:endParaRPr lang="nl-BE" dirty="0"/>
          </a:p>
        </p:txBody>
      </p:sp>
      <p:pic>
        <p:nvPicPr>
          <p:cNvPr id="6146" name="Picture 2" descr="Throughput provisioned at database level">
            <a:extLst>
              <a:ext uri="{FF2B5EF4-FFF2-40B4-BE49-F238E27FC236}">
                <a16:creationId xmlns:a16="http://schemas.microsoft.com/office/drawing/2014/main" id="{7A12A3C6-6613-E4B4-EC22-7F42A6102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648307"/>
            <a:ext cx="11887200" cy="48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DE9B2AF-76F8-252A-9432-CA9D6A2E6128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plan-resource-requirements/2-understand-throughput</a:t>
            </a:r>
          </a:p>
        </p:txBody>
      </p:sp>
    </p:spTree>
    <p:extLst>
      <p:ext uri="{BB962C8B-B14F-4D97-AF65-F5344CB8AC3E}">
        <p14:creationId xmlns:p14="http://schemas.microsoft.com/office/powerpoint/2010/main" val="185576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09B0-C45E-8844-9AD2-A5B1F6A6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C37536-7780-0046-6544-ED65790FFE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752479"/>
            <a:ext cx="11887200" cy="48577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DA9D926-BCFF-AE82-E695-876B249D5ECA}"/>
              </a:ext>
            </a:extLst>
          </p:cNvPr>
          <p:cNvSpPr txBox="1"/>
          <p:nvPr/>
        </p:nvSpPr>
        <p:spPr>
          <a:xfrm>
            <a:off x="0" y="6550223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/>
              <a:t>https://learn.microsoft.com/en-us/training/modules/plan-resource-requirements/2-understand-throughput</a:t>
            </a:r>
          </a:p>
        </p:txBody>
      </p:sp>
    </p:spTree>
    <p:extLst>
      <p:ext uri="{BB962C8B-B14F-4D97-AF65-F5344CB8AC3E}">
        <p14:creationId xmlns:p14="http://schemas.microsoft.com/office/powerpoint/2010/main" val="39406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chorama 2023.potx" id="{696B3632-8CD4-4C38-A82A-1E22D574E3AF}" vid="{168EE160-010E-468C-91F4-0DD5C0EB717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E_PPT_Template_Final</Template>
  <TotalTime>12015</TotalTime>
  <Words>719</Words>
  <Application>Microsoft Office PowerPoint</Application>
  <PresentationFormat>Widescreen</PresentationFormat>
  <Paragraphs>158</Paragraphs>
  <Slides>4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5" baseType="lpstr">
      <vt:lpstr>Arial</vt:lpstr>
      <vt:lpstr>Calibri</vt:lpstr>
      <vt:lpstr>Calibri Light</vt:lpstr>
      <vt:lpstr>Century Gothic</vt:lpstr>
      <vt:lpstr>Century Gothic Bold</vt:lpstr>
      <vt:lpstr>Courier New</vt:lpstr>
      <vt:lpstr>mastodon-font-sans-serif</vt:lpstr>
      <vt:lpstr>Possum Saltare NF</vt:lpstr>
      <vt:lpstr>AE Template</vt:lpstr>
      <vt:lpstr>Office Theme</vt:lpstr>
      <vt:lpstr>think-cell Slide</vt:lpstr>
      <vt:lpstr>Analyzing Azure Cosmos DB Data</vt:lpstr>
      <vt:lpstr>contact</vt:lpstr>
      <vt:lpstr>the use case</vt:lpstr>
      <vt:lpstr>what are we going to talk about</vt:lpstr>
      <vt:lpstr>Azure Cosmos DB</vt:lpstr>
      <vt:lpstr>SQL API - structure</vt:lpstr>
      <vt:lpstr>throughput</vt:lpstr>
      <vt:lpstr>throughput</vt:lpstr>
      <vt:lpstr>throughput</vt:lpstr>
      <vt:lpstr>partition key</vt:lpstr>
      <vt:lpstr>indexing</vt:lpstr>
      <vt:lpstr>indexing policy</vt:lpstr>
      <vt:lpstr>change feed</vt:lpstr>
      <vt:lpstr>pricing</vt:lpstr>
      <vt:lpstr>the use case</vt:lpstr>
      <vt:lpstr>analytical store</vt:lpstr>
      <vt:lpstr>enable analytical store</vt:lpstr>
      <vt:lpstr>connect to external data</vt:lpstr>
      <vt:lpstr>serverless SQL pools</vt:lpstr>
      <vt:lpstr>create credential</vt:lpstr>
      <vt:lpstr>profit!</vt:lpstr>
      <vt:lpstr>Spark pools</vt:lpstr>
      <vt:lpstr>notebooks</vt:lpstr>
      <vt:lpstr>whatever you do…</vt:lpstr>
      <vt:lpstr>… make sure it’s in git</vt:lpstr>
      <vt:lpstr>demo data</vt:lpstr>
      <vt:lpstr>DEMO</vt:lpstr>
      <vt:lpstr>strange behavior?</vt:lpstr>
      <vt:lpstr>TTL vs ATTL</vt:lpstr>
      <vt:lpstr>conclusion</vt:lpstr>
      <vt:lpstr>alternatives</vt:lpstr>
      <vt:lpstr>alternatives</vt:lpstr>
      <vt:lpstr>ADX</vt:lpstr>
      <vt:lpstr>ADX</vt:lpstr>
      <vt:lpstr>ADX</vt:lpstr>
      <vt:lpstr>ADX</vt:lpstr>
      <vt:lpstr>ADX</vt:lpstr>
      <vt:lpstr>DEMO</vt:lpstr>
      <vt:lpstr>Serverless vs ADX</vt:lpstr>
      <vt:lpstr>alternatives</vt:lpstr>
      <vt:lpstr>Serverless vs ADF</vt:lpstr>
      <vt:lpstr>conclusion</vt:lpstr>
      <vt:lpstr>resources</vt:lpstr>
      <vt:lpstr>PowerPoint Presentation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tical Queries on Azure Cosmos DB</dc:title>
  <dc:creator>Koen Verbeeck</dc:creator>
  <cp:lastModifiedBy>Koen Verbeeck</cp:lastModifiedBy>
  <cp:revision>1</cp:revision>
  <dcterms:created xsi:type="dcterms:W3CDTF">2022-11-22T09:27:10Z</dcterms:created>
  <dcterms:modified xsi:type="dcterms:W3CDTF">2023-05-16T07:33:58Z</dcterms:modified>
</cp:coreProperties>
</file>